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1" r:id="rId1"/>
    <p:sldMasterId id="2147483798" r:id="rId2"/>
    <p:sldMasterId id="2147483812" r:id="rId3"/>
  </p:sldMasterIdLst>
  <p:notesMasterIdLst>
    <p:notesMasterId r:id="rId17"/>
  </p:notesMasterIdLst>
  <p:handoutMasterIdLst>
    <p:handoutMasterId r:id="rId18"/>
  </p:handoutMasterIdLst>
  <p:sldIdLst>
    <p:sldId id="312" r:id="rId4"/>
    <p:sldId id="313" r:id="rId5"/>
    <p:sldId id="314" r:id="rId6"/>
    <p:sldId id="325" r:id="rId7"/>
    <p:sldId id="315" r:id="rId8"/>
    <p:sldId id="316" r:id="rId9"/>
    <p:sldId id="318" r:id="rId10"/>
    <p:sldId id="319" r:id="rId11"/>
    <p:sldId id="317" r:id="rId12"/>
    <p:sldId id="320" r:id="rId13"/>
    <p:sldId id="322" r:id="rId14"/>
    <p:sldId id="323" r:id="rId15"/>
    <p:sldId id="324" r:id="rId16"/>
  </p:sldIdLst>
  <p:sldSz cx="10693400" cy="7561263"/>
  <p:notesSz cx="6858000" cy="9926638"/>
  <p:custDataLst>
    <p:tags r:id="rId19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468" userDrawn="1">
          <p15:clr>
            <a:srgbClr val="A4A3A4"/>
          </p15:clr>
        </p15:guide>
        <p15:guide id="4" pos="3345" userDrawn="1">
          <p15:clr>
            <a:srgbClr val="A4A3A4"/>
          </p15:clr>
        </p15:guide>
        <p15:guide id="5" orient="horz" pos="3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E8D6"/>
    <a:srgbClr val="F5231B"/>
    <a:srgbClr val="555555"/>
    <a:srgbClr val="C2A89D"/>
    <a:srgbClr val="F7F3ED"/>
    <a:srgbClr val="F1F6E6"/>
    <a:srgbClr val="F1F617"/>
    <a:srgbClr val="C6E7CC"/>
    <a:srgbClr val="ACD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95481" autoAdjust="0"/>
  </p:normalViewPr>
  <p:slideViewPr>
    <p:cSldViewPr snapToGrid="0">
      <p:cViewPr varScale="1">
        <p:scale>
          <a:sx n="76" d="100"/>
          <a:sy n="76" d="100"/>
        </p:scale>
        <p:origin x="1301" y="58"/>
      </p:cViewPr>
      <p:guideLst>
        <p:guide orient="horz" pos="4468"/>
        <p:guide pos="3345"/>
        <p:guide orient="horz" pos="318"/>
      </p:guideLst>
    </p:cSldViewPr>
  </p:slideViewPr>
  <p:outlineViewPr>
    <p:cViewPr>
      <p:scale>
        <a:sx n="33" d="100"/>
        <a:sy n="33" d="100"/>
      </p:scale>
      <p:origin x="0" y="-3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289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50C59-D1D1-4CF8-A5C8-BF6FE77EED9D}" type="datetimeFigureOut">
              <a:rPr lang="de-DE" smtClean="0"/>
              <a:t>06.10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BC6F4A-349B-444D-B35E-3481DBA21A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94454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AE89736C-33E1-4D73-8584-7092582AEF83}" type="datetimeFigureOut">
              <a:rPr lang="de-DE" smtClean="0"/>
              <a:pPr/>
              <a:t>06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5939" tIns="47969" rIns="95939" bIns="47969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DBEE7B1B-09E6-4939-A88C-22AA4308BEB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107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 smtClean="0"/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 smtClean="0"/>
              <a:t>Preprocessing</a:t>
            </a:r>
            <a:r>
              <a:rPr lang="de-DE" dirty="0" smtClean="0"/>
              <a:t>/</a:t>
            </a:r>
            <a:r>
              <a:rPr lang="de-DE" dirty="0" err="1" smtClean="0"/>
              <a:t>Cleaning</a:t>
            </a:r>
            <a:r>
              <a:rPr lang="de-DE" dirty="0" smtClean="0"/>
              <a:t>: z.B. Fehlstellen-Behandlung, Ausreißer Behandlung, Datenfehler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2.) Anomalien</a:t>
            </a:r>
            <a:r>
              <a:rPr lang="de-DE" baseline="0" dirty="0" smtClean="0"/>
              <a:t> (Fehlerhafte Geräte)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3.) Vorhersagen von Umsatz oder Anzahl von Geräten</a:t>
            </a:r>
          </a:p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5.) Automatische Regelung eine Heizung 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5725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 smtClean="0"/>
              <a:t>Preprocessing</a:t>
            </a:r>
            <a:r>
              <a:rPr lang="de-DE" dirty="0" smtClean="0"/>
              <a:t>/</a:t>
            </a:r>
            <a:r>
              <a:rPr lang="de-DE" dirty="0" err="1" smtClean="0"/>
              <a:t>Cleaning</a:t>
            </a:r>
            <a:r>
              <a:rPr lang="de-DE" dirty="0" smtClean="0"/>
              <a:t>: z.B. Fehlstellen-Behandlung, Ausreißer Behandlung, Datenfehler</a:t>
            </a:r>
          </a:p>
        </p:txBody>
      </p:sp>
    </p:spTree>
    <p:extLst>
      <p:ext uri="{BB962C8B-B14F-4D97-AF65-F5344CB8AC3E}">
        <p14:creationId xmlns:p14="http://schemas.microsoft.com/office/powerpoint/2010/main" val="2065926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uflösung:</a:t>
            </a:r>
            <a:r>
              <a:rPr lang="de-DE" baseline="0" dirty="0" smtClean="0"/>
              <a:t> </a:t>
            </a:r>
            <a:r>
              <a:rPr lang="de-DE" dirty="0" smtClean="0"/>
              <a:t>der kleinste Unterschied zwischen Messwerten, den ein Messgerät gerade noch erfassen kann/sinnvoll soll</a:t>
            </a:r>
          </a:p>
        </p:txBody>
      </p:sp>
    </p:spTree>
    <p:extLst>
      <p:ext uri="{BB962C8B-B14F-4D97-AF65-F5344CB8AC3E}">
        <p14:creationId xmlns:p14="http://schemas.microsoft.com/office/powerpoint/2010/main" val="576605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Preprocessing</a:t>
            </a:r>
            <a:r>
              <a:rPr lang="de-DE" dirty="0" smtClean="0"/>
              <a:t>/</a:t>
            </a:r>
            <a:r>
              <a:rPr lang="de-DE" dirty="0" err="1" smtClean="0"/>
              <a:t>Cleaning</a:t>
            </a:r>
            <a:r>
              <a:rPr lang="de-DE" dirty="0" smtClean="0"/>
              <a:t>: z.B. Fehlstellen-Behandlung, Ausreißer Behandlung, Datenfehl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131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E4EF9-FAC2-45A0-ACFB-BB7F39C6C458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192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EE2810A-CBB7-414B-9475-81CD7B0BB95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84000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782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28B98FB-B748-4F30-8A65-BF8BB6D355A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64800" y="2052000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64800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0800" y="1584000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0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4800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6480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60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4800" y="1584000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520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4800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24425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9088E16-6F66-4F46-A4D4-A3EA8E47AC09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4000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894799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E0DCABD-3E70-4AFB-BFE8-B4CBC6D158FC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0800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84000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5200" y="1584000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0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5825931-F025-4070-A644-4B3E6E39E0EA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4449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91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0A200-9702-45BA-B816-44AC69C33CBE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2373" y="2647254"/>
            <a:ext cx="3581400" cy="258762"/>
          </a:xfrm>
        </p:spPr>
        <p:txBody>
          <a:bodyPr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468700" y="3130742"/>
            <a:ext cx="9756000" cy="725544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700" y="5333682"/>
            <a:ext cx="2332038" cy="686117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68700" y="291164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65002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5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7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C0F40CA-BB6C-41BF-A45C-13BAD9CAC688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72825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0224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9946" y="603508"/>
            <a:ext cx="9782603" cy="67694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6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BDC53D2-C65A-4210-8803-9AEAA8852A7A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07749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9947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8136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Musterheadline zum Foliensatz, zwei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7A590C1-607B-4A31-ABEE-C9479E27835B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9087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9087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918872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692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6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9A87BE8-49B4-493D-9807-D96A5D01423F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2973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3E99BE8-B232-4FD1-9828-101C44A209A3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92708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85726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8"/>
            <a:ext cx="4752000" cy="49688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2052638"/>
            <a:ext cx="4752000" cy="49771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01F7A5E-0779-4B0B-B8E2-A1877B2AB1E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4"/>
          </p:nvPr>
        </p:nvSpPr>
        <p:spPr>
          <a:xfrm>
            <a:off x="468700" y="1601288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5463947" y="1599952"/>
            <a:ext cx="4752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459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5463947" y="1860550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2543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C8D89BE-3A68-4AA6-B000-41B9E27EEEBF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8244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5481841" y="2070265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5470725" y="188210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Inhaltsplatzhalter 10"/>
          <p:cNvSpPr>
            <a:spLocks noGrp="1"/>
          </p:cNvSpPr>
          <p:nvPr>
            <p:ph sz="quarter" idx="18"/>
          </p:nvPr>
        </p:nvSpPr>
        <p:spPr>
          <a:xfrm>
            <a:off x="466725" y="1589087"/>
            <a:ext cx="4752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8" name="Gerader Verbinder 17"/>
          <p:cNvCxnSpPr/>
          <p:nvPr userDrawn="1"/>
        </p:nvCxnSpPr>
        <p:spPr>
          <a:xfrm>
            <a:off x="459947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10"/>
          <p:cNvSpPr>
            <a:spLocks noGrp="1"/>
          </p:cNvSpPr>
          <p:nvPr>
            <p:ph sz="quarter" idx="19"/>
          </p:nvPr>
        </p:nvSpPr>
        <p:spPr>
          <a:xfrm>
            <a:off x="466725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  <a:lvl2pPr marL="714375" indent="-217488">
              <a:buFont typeface="Wingdings" panose="05000000000000000000" pitchFamily="2" charset="2"/>
              <a:buChar char="§"/>
              <a:defRPr/>
            </a:lvl2pPr>
            <a:lvl3pPr marL="1244613" indent="-248923">
              <a:buFont typeface="Wingdings" panose="05000000000000000000" pitchFamily="2" charset="2"/>
              <a:buChar char="§"/>
              <a:defRPr/>
            </a:lvl3pPr>
            <a:lvl4pPr marL="1742458" indent="-248923">
              <a:buFont typeface="Wingdings" panose="05000000000000000000" pitchFamily="2" charset="2"/>
              <a:buChar char="§"/>
              <a:defRPr/>
            </a:lvl4pPr>
            <a:lvl5pPr marL="2240303" indent="-248923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21" name="Gerader Verbinder 20"/>
          <p:cNvCxnSpPr/>
          <p:nvPr userDrawn="1"/>
        </p:nvCxnSpPr>
        <p:spPr>
          <a:xfrm>
            <a:off x="5468285" y="4718821"/>
            <a:ext cx="4752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4" name="Inhaltsplatzhalter 10"/>
          <p:cNvSpPr>
            <a:spLocks noGrp="1"/>
          </p:cNvSpPr>
          <p:nvPr>
            <p:ph sz="quarter" idx="25"/>
          </p:nvPr>
        </p:nvSpPr>
        <p:spPr>
          <a:xfrm>
            <a:off x="5490550" y="4927696"/>
            <a:ext cx="4752000" cy="2088000"/>
          </a:xfrm>
        </p:spPr>
        <p:txBody>
          <a:bodyPr/>
          <a:lstStyle>
            <a:lvl1pPr marL="180975" indent="-180975" rtl="0">
              <a:buFont typeface="Wingdings" panose="05000000000000000000" pitchFamily="2" charset="2"/>
              <a:buChar char="§"/>
              <a:defRPr sz="1600" b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half" idx="26"/>
          </p:nvPr>
        </p:nvSpPr>
        <p:spPr>
          <a:xfrm>
            <a:off x="456347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half" idx="27"/>
          </p:nvPr>
        </p:nvSpPr>
        <p:spPr>
          <a:xfrm>
            <a:off x="5463947" y="1588747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Inhaltsplatzhalter 2"/>
          <p:cNvSpPr>
            <a:spLocks noGrp="1"/>
          </p:cNvSpPr>
          <p:nvPr>
            <p:ph sz="half" idx="14"/>
          </p:nvPr>
        </p:nvSpPr>
        <p:spPr>
          <a:xfrm>
            <a:off x="459947" y="2050726"/>
            <a:ext cx="4744800" cy="208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3"/>
          <p:cNvSpPr>
            <a:spLocks noGrp="1"/>
          </p:cNvSpPr>
          <p:nvPr>
            <p:ph sz="half" idx="28"/>
          </p:nvPr>
        </p:nvSpPr>
        <p:spPr>
          <a:xfrm>
            <a:off x="5468285" y="4437489"/>
            <a:ext cx="4752000" cy="270000"/>
          </a:xfrm>
        </p:spPr>
        <p:txBody>
          <a:bodyPr>
            <a:normAutofit/>
          </a:bodyPr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9597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1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E036411-FAAE-4006-A5C6-560B28F8BA84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309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10"/>
          <p:cNvSpPr>
            <a:spLocks noGrp="1"/>
          </p:cNvSpPr>
          <p:nvPr>
            <p:ph sz="quarter" idx="17"/>
          </p:nvPr>
        </p:nvSpPr>
        <p:spPr>
          <a:xfrm>
            <a:off x="711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711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3"/>
          <p:cNvSpPr>
            <a:spLocks noGrp="1"/>
          </p:cNvSpPr>
          <p:nvPr>
            <p:ph sz="half" idx="20"/>
          </p:nvPr>
        </p:nvSpPr>
        <p:spPr>
          <a:xfrm>
            <a:off x="3789947" y="2051681"/>
            <a:ext cx="3096000" cy="496983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21"/>
          </p:nvPr>
        </p:nvSpPr>
        <p:spPr>
          <a:xfrm>
            <a:off x="3789947" y="1589477"/>
            <a:ext cx="3096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3783169" y="1859594"/>
            <a:ext cx="309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2478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227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68C1FE1-C4A7-4579-9831-42190A0B39D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466725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13" name="Gerader Verbinder 12"/>
          <p:cNvCxnSpPr/>
          <p:nvPr userDrawn="1"/>
        </p:nvCxnSpPr>
        <p:spPr>
          <a:xfrm>
            <a:off x="459947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2973296" y="2052637"/>
            <a:ext cx="2268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10"/>
          <p:cNvSpPr>
            <a:spLocks noGrp="1"/>
          </p:cNvSpPr>
          <p:nvPr>
            <p:ph sz="quarter" idx="18"/>
          </p:nvPr>
        </p:nvSpPr>
        <p:spPr>
          <a:xfrm>
            <a:off x="2974794" y="1590433"/>
            <a:ext cx="22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3" name="Gerader Verbinder 22"/>
          <p:cNvCxnSpPr/>
          <p:nvPr userDrawn="1"/>
        </p:nvCxnSpPr>
        <p:spPr>
          <a:xfrm>
            <a:off x="2968016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2"/>
          <p:cNvSpPr>
            <a:spLocks noGrp="1"/>
          </p:cNvSpPr>
          <p:nvPr>
            <p:ph sz="half" idx="19"/>
          </p:nvPr>
        </p:nvSpPr>
        <p:spPr>
          <a:xfrm>
            <a:off x="546780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10"/>
          <p:cNvSpPr>
            <a:spLocks noGrp="1"/>
          </p:cNvSpPr>
          <p:nvPr>
            <p:ph sz="quarter" idx="20"/>
          </p:nvPr>
        </p:nvSpPr>
        <p:spPr>
          <a:xfrm>
            <a:off x="546930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6" name="Gerader Verbinder 25"/>
          <p:cNvCxnSpPr/>
          <p:nvPr userDrawn="1"/>
        </p:nvCxnSpPr>
        <p:spPr>
          <a:xfrm>
            <a:off x="546252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>
            <a:spLocks noGrp="1"/>
          </p:cNvSpPr>
          <p:nvPr>
            <p:ph sz="half" idx="21"/>
          </p:nvPr>
        </p:nvSpPr>
        <p:spPr>
          <a:xfrm>
            <a:off x="7946449" y="2052637"/>
            <a:ext cx="2268000" cy="4968875"/>
          </a:xfrm>
        </p:spPr>
        <p:txBody>
          <a:bodyPr>
            <a:normAutofit/>
          </a:bodyPr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8" name="Inhaltsplatzhalter 10"/>
          <p:cNvSpPr>
            <a:spLocks noGrp="1"/>
          </p:cNvSpPr>
          <p:nvPr>
            <p:ph sz="quarter" idx="22"/>
          </p:nvPr>
        </p:nvSpPr>
        <p:spPr>
          <a:xfrm>
            <a:off x="7947947" y="1590433"/>
            <a:ext cx="2268000" cy="271463"/>
          </a:xfrm>
        </p:spPr>
        <p:txBody>
          <a:bodyPr/>
          <a:lstStyle>
            <a:lvl1pPr marL="0" indent="0" rtl="0">
              <a:buFontTx/>
              <a:buNone/>
              <a:defRPr sz="16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29" name="Gerader Verbinder 28"/>
          <p:cNvCxnSpPr/>
          <p:nvPr userDrawn="1"/>
        </p:nvCxnSpPr>
        <p:spPr>
          <a:xfrm>
            <a:off x="7941169" y="1860550"/>
            <a:ext cx="22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866516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hne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2"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3F4462B-AD41-447C-A271-8290D56CE11C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99041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4"/>
          </p:nvPr>
        </p:nvSpPr>
        <p:spPr>
          <a:xfrm>
            <a:off x="468700" y="7162028"/>
            <a:ext cx="2709429" cy="142424"/>
          </a:xfrm>
        </p:spPr>
        <p:txBody>
          <a:bodyPr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7854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55448" y="82296"/>
            <a:ext cx="10287000" cy="73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3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title"/>
          </p:nvPr>
        </p:nvSpPr>
        <p:spPr>
          <a:xfrm>
            <a:off x="360001" y="392657"/>
            <a:ext cx="9071999" cy="3385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32082" marR="0" lvl="5" indent="-2408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064163" marR="0" lvl="6" indent="-2276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596246" marR="0" lvl="7" indent="-21445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128327" marR="0" lvl="8" indent="-20127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397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2_Titel und Inhal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97141" y="613927"/>
            <a:ext cx="9725043" cy="7120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97141" y="1613073"/>
            <a:ext cx="9725043" cy="53699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182581" marR="0" lvl="0" indent="-809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57224" marR="0" lvl="1" indent="-7782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39804" marR="0" lvl="2" indent="-826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12859" marR="0" lvl="3" indent="-77859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95440" marR="0" lvl="4" indent="-8264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9310352" y="7092597"/>
            <a:ext cx="540182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B9853D10-051E-4485-BCE1-5C363A82EAAC}" type="datetime1">
              <a:rPr lang="de-DE" smtClean="0"/>
              <a:t>06.10.2017</a:t>
            </a:fld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4247980" y="7092597"/>
            <a:ext cx="3609023" cy="2520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 smtClean="0"/>
              <a:t>Data Insights </a:t>
            </a:r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9905122" y="7092597"/>
            <a:ext cx="334499" cy="252052"/>
          </a:xfrm>
          <a:prstGeom prst="rect">
            <a:avLst/>
          </a:prstGeom>
          <a:noFill/>
          <a:ln>
            <a:noFill/>
          </a:ln>
        </p:spPr>
        <p:txBody>
          <a:bodyPr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ct val="25000"/>
              <a:buFont typeface="Arial"/>
              <a:buNone/>
            </a:pPr>
            <a:fld id="{00000000-1234-1234-1234-123412341234}" type="slidenum">
              <a:rPr lang="en-US"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‹Nr.›</a:t>
            </a:fld>
            <a:endParaRPr lang="en-US" sz="10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Shape 27"/>
          <p:cNvSpPr txBox="1">
            <a:spLocks noGrp="1"/>
          </p:cNvSpPr>
          <p:nvPr>
            <p:ph type="body" idx="2"/>
          </p:nvPr>
        </p:nvSpPr>
        <p:spPr>
          <a:xfrm>
            <a:off x="507775" y="7124757"/>
            <a:ext cx="2709830" cy="2517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300"/>
              </a:spcBef>
              <a:buClr>
                <a:srgbClr val="7F7F7F"/>
              </a:buClr>
              <a:buFont typeface="Noto Sans Symbols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581" marR="0" lvl="1" indent="-4780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57223" marR="0" lvl="2" indent="-1623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39804" marR="0" lvl="3" indent="-6404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12858" marR="0" lvl="4" indent="-1657" algn="l" rtl="0">
              <a:lnSpc>
                <a:spcPct val="100000"/>
              </a:lnSpc>
              <a:spcBef>
                <a:spcPts val="300"/>
              </a:spcBef>
              <a:buClr>
                <a:schemeClr val="dk1"/>
              </a:buClr>
              <a:buFont typeface="Noto Sans Symbols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72121" marR="0" lvl="5" indent="-131536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76143" marR="0" lvl="6" indent="-127559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780165" marR="0" lvl="7" indent="-136280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284186" marR="0" lvl="8" indent="-132302" algn="l" rtl="0">
              <a:lnSpc>
                <a:spcPct val="90000"/>
              </a:lnSpc>
              <a:spcBef>
                <a:spcPts val="551"/>
              </a:spcBef>
              <a:buClr>
                <a:schemeClr val="dk1"/>
              </a:buClr>
              <a:buSzPct val="992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469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 userDrawn="1"/>
        </p:nvGrpSpPr>
        <p:grpSpPr>
          <a:xfrm>
            <a:off x="746419" y="2367362"/>
            <a:ext cx="9200561" cy="1352550"/>
            <a:chOff x="970961" y="2367362"/>
            <a:chExt cx="9200561" cy="1352550"/>
          </a:xfrm>
        </p:grpSpPr>
        <p:pic>
          <p:nvPicPr>
            <p:cNvPr id="3" name="Grafik 2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24"/>
            <a:stretch/>
          </p:blipFill>
          <p:spPr>
            <a:xfrm>
              <a:off x="970961" y="2367362"/>
              <a:ext cx="4070938" cy="1352550"/>
            </a:xfrm>
            <a:prstGeom prst="rect">
              <a:avLst/>
            </a:prstGeom>
          </p:spPr>
        </p:pic>
        <p:pic>
          <p:nvPicPr>
            <p:cNvPr id="4" name="Grafik 3"/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222" r="8718" b="32333"/>
            <a:stretch/>
          </p:blipFill>
          <p:spPr>
            <a:xfrm>
              <a:off x="4707379" y="2642995"/>
              <a:ext cx="5464143" cy="801279"/>
            </a:xfrm>
            <a:prstGeom prst="rect">
              <a:avLst/>
            </a:prstGeom>
          </p:spPr>
        </p:pic>
        <p:cxnSp>
          <p:nvCxnSpPr>
            <p:cNvPr id="5" name="Gerader Verbinder 4"/>
            <p:cNvCxnSpPr/>
            <p:nvPr userDrawn="1"/>
          </p:nvCxnSpPr>
          <p:spPr>
            <a:xfrm flipH="1">
              <a:off x="4835951" y="2582611"/>
              <a:ext cx="1495" cy="92204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710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D7EB3AA4-467C-455E-A63F-F9484A501DF7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9559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79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r Verbinder 2"/>
          <p:cNvCxnSpPr/>
          <p:nvPr userDrawn="1"/>
        </p:nvCxnSpPr>
        <p:spPr>
          <a:xfrm>
            <a:off x="2395904" y="6779650"/>
            <a:ext cx="0" cy="50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7" t="27711" r="8642" b="32997"/>
          <a:stretch/>
        </p:blipFill>
        <p:spPr>
          <a:xfrm>
            <a:off x="2783111" y="6779650"/>
            <a:ext cx="3171131" cy="5040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7" t="15552" r="12760" b="12617"/>
          <a:stretch/>
        </p:blipFill>
        <p:spPr>
          <a:xfrm>
            <a:off x="303149" y="6779650"/>
            <a:ext cx="1778824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2042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89161E6-9429-4012-BD99-69FFB633AFF8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352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47947" y="1584325"/>
            <a:ext cx="3168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1584325"/>
            <a:ext cx="6336000" cy="54371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336DC15-12EB-4EC9-B04B-F2EB9B61399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134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2 zu 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752000" cy="54371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947" y="1584326"/>
            <a:ext cx="4752000" cy="54371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C725DBE-F35D-4BF4-A406-8A7628D4F6E7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32269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80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610" y="1584325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730FCA2-104E-4E00-BDBA-B2A037A823ED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4"/>
          </p:nvPr>
        </p:nvSpPr>
        <p:spPr>
          <a:xfrm>
            <a:off x="460800" y="43829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15"/>
          </p:nvPr>
        </p:nvSpPr>
        <p:spPr>
          <a:xfrm>
            <a:off x="5463610" y="4384800"/>
            <a:ext cx="4752000" cy="2628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2"/>
          <p:cNvSpPr>
            <a:spLocks noGrp="1"/>
          </p:cNvSpPr>
          <p:nvPr>
            <p:ph idx="13"/>
          </p:nvPr>
        </p:nvSpPr>
        <p:spPr>
          <a:xfrm>
            <a:off x="450850" y="7112498"/>
            <a:ext cx="2710800" cy="180000"/>
          </a:xfrm>
        </p:spPr>
        <p:txBody>
          <a:bodyPr vert="horz" lIns="0" tIns="0" rIns="0" bIns="0" rtlCol="0" anchor="b">
            <a:noAutofit/>
          </a:bodyPr>
          <a:lstStyle>
            <a:lvl1pPr marL="182563" indent="-182563">
              <a:buNone/>
              <a:defRPr lang="de-DE" sz="800" dirty="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/>
            <a:r>
              <a:rPr lang="de-DE" smtClean="0"/>
              <a:t>Formatvorlagen des Textmasters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0899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637"/>
            <a:ext cx="9756000" cy="49688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AFD847E-3B1F-4086-8830-2839436DF567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2000" y="711325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975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459947" y="1860550"/>
            <a:ext cx="9782603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04198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1/3 zu 2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Musterheadline zum Foliensatz,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2052111"/>
            <a:ext cx="3168000" cy="493288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879947" y="2052638"/>
            <a:ext cx="6336000" cy="493844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3D8E5032-A387-4880-BED3-E0F3FCAB46FD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DADFEA48-2D48-4EF5-B029-0B8993B9B72D}" type="slidenum">
              <a:rPr lang="de-DE" smtClean="0"/>
              <a:pPr algn="r"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6725" y="1584000"/>
            <a:ext cx="3161222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3879947" y="1584000"/>
            <a:ext cx="6336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459947" y="1860550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3879947" y="1860550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1157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(Verhältnis 2/3 zu 1/3)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52400" y="2052638"/>
            <a:ext cx="3168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9947" y="2052638"/>
            <a:ext cx="6336000" cy="494211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68432B7-3AC1-4345-85CF-F223DFB1FCCA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Inhaltsplatzhalter 10"/>
          <p:cNvSpPr>
            <a:spLocks noGrp="1"/>
          </p:cNvSpPr>
          <p:nvPr>
            <p:ph sz="quarter" idx="15"/>
          </p:nvPr>
        </p:nvSpPr>
        <p:spPr>
          <a:xfrm>
            <a:off x="468700" y="1584000"/>
            <a:ext cx="631815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6"/>
          </p:nvPr>
        </p:nvSpPr>
        <p:spPr>
          <a:xfrm>
            <a:off x="7053689" y="1584325"/>
            <a:ext cx="3168000" cy="271463"/>
          </a:xfrm>
        </p:spPr>
        <p:txBody>
          <a:bodyPr/>
          <a:lstStyle>
            <a:lvl1pPr marL="0" indent="0">
              <a:buFontTx/>
              <a:buNone/>
              <a:defRPr sz="1600" b="1"/>
            </a:lvl1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7074550" y="1855788"/>
            <a:ext cx="316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 userDrawn="1"/>
        </p:nvCxnSpPr>
        <p:spPr>
          <a:xfrm>
            <a:off x="450850" y="1855788"/>
            <a:ext cx="6336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450850" y="223505"/>
            <a:ext cx="4095190" cy="251745"/>
          </a:xfrm>
        </p:spPr>
        <p:txBody>
          <a:bodyPr/>
          <a:lstStyle>
            <a:lvl1pPr marL="0" indent="0">
              <a:buFontTx/>
              <a:buNone/>
              <a:defRPr sz="1200" b="1" i="1">
                <a:solidFill>
                  <a:schemeClr val="accent3"/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 anchor="b"/>
          <a:lstStyle>
            <a:lvl1pPr marL="0" indent="0">
              <a:buFontTx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182563" indent="0">
              <a:buFontTx/>
              <a:buNone/>
              <a:defRPr sz="800"/>
            </a:lvl2pPr>
            <a:lvl3pPr marL="357187" indent="0">
              <a:buFontTx/>
              <a:buNone/>
              <a:defRPr sz="800"/>
            </a:lvl3pPr>
            <a:lvl4pPr marL="539750" indent="0">
              <a:buFontTx/>
              <a:buNone/>
              <a:defRPr sz="800"/>
            </a:lvl4pPr>
            <a:lvl5pPr marL="712787" indent="0">
              <a:buFontTx/>
              <a:buNone/>
              <a:defRPr sz="8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63913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83758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2" name="think-cell Folie" r:id="rId19" imgW="532" imgH="530" progId="TCLayout.ActiveDocument.1">
                  <p:embed/>
                </p:oleObj>
              </mc:Choice>
              <mc:Fallback>
                <p:oleObj name="think-cell Folie" r:id="rId19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89CE0EC-BC95-4741-8A63-FE5A0CE8807F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  <a:endParaRPr lang="de-DE" sz="8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23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03" r:id="rId2"/>
    <p:sldLayoutId id="2147483725" r:id="rId3"/>
    <p:sldLayoutId id="2147483726" r:id="rId4"/>
    <p:sldLayoutId id="2147483727" r:id="rId5"/>
    <p:sldLayoutId id="2147483728" r:id="rId6"/>
    <p:sldLayoutId id="2147483716" r:id="rId7"/>
    <p:sldLayoutId id="2147483704" r:id="rId8"/>
    <p:sldLayoutId id="2147483705" r:id="rId9"/>
    <p:sldLayoutId id="2147483706" r:id="rId10"/>
    <p:sldLayoutId id="2147483707" r:id="rId11"/>
    <p:sldLayoutId id="2147483721" r:id="rId12"/>
    <p:sldLayoutId id="2147483720" r:id="rId13"/>
    <p:sldLayoutId id="2147483724" r:id="rId14"/>
    <p:sldLayoutId id="2147483722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 userDrawn="1">
          <p15:clr>
            <a:srgbClr val="F26B43"/>
          </p15:clr>
        </p15:guide>
        <p15:guide id="3" pos="2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1407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Folie" r:id="rId17" imgW="408" imgH="408" progId="TCLayout.ActiveDocument.1">
                  <p:embed/>
                </p:oleObj>
              </mc:Choice>
              <mc:Fallback>
                <p:oleObj name="think-cell Folie" r:id="rId17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46" y="1593035"/>
            <a:ext cx="9782603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280208" y="7112498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456E839-7C66-4E19-9ECE-3F833FB37F16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4409" y="71124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1147" y="7112498"/>
            <a:ext cx="3348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ADFEA48-2D48-4EF5-B029-0B8993B9B7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NewViessmannBox2"/>
          <p:cNvSpPr txBox="1"/>
          <p:nvPr userDrawn="1"/>
        </p:nvSpPr>
        <p:spPr>
          <a:xfrm>
            <a:off x="8191500" y="7112498"/>
            <a:ext cx="972000" cy="180000"/>
          </a:xfrm>
          <a:prstGeom prst="rect">
            <a:avLst/>
          </a:prstGeom>
          <a:noFill/>
        </p:spPr>
        <p:txBody>
          <a:bodyPr vert="horz" lIns="0" tIns="0" rIns="0" bIns="0" rtlCol="0" anchor="b">
            <a:spAutoFit/>
          </a:bodyPr>
          <a:lstStyle/>
          <a:p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© Viessmann Group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1" i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  <p15:guide id="4" orient="horz" pos="771">
          <p15:clr>
            <a:srgbClr val="F26B43"/>
          </p15:clr>
        </p15:guide>
        <p15:guide id="5" orient="horz" pos="998">
          <p15:clr>
            <a:srgbClr val="F26B43"/>
          </p15:clr>
        </p15:guide>
        <p15:guide id="6" orient="horz" pos="4423">
          <p15:clr>
            <a:srgbClr val="F26B43"/>
          </p15:clr>
        </p15:guide>
        <p15:guide id="8" orient="horz" pos="4581">
          <p15:clr>
            <a:srgbClr val="F26B43"/>
          </p15:clr>
        </p15:guide>
        <p15:guide id="10" pos="3368">
          <p15:clr>
            <a:srgbClr val="F26B43"/>
          </p15:clr>
        </p15:guide>
        <p15:guide id="12" orient="horz" pos="2699">
          <p15:clr>
            <a:srgbClr val="F26B43"/>
          </p15:clr>
        </p15:guide>
        <p15:guide id="13" orient="horz" pos="386">
          <p15:clr>
            <a:srgbClr val="F26B43"/>
          </p15:clr>
        </p15:guide>
        <p15:guide id="14" orient="horz" pos="25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88709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56000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0800" y="1598400"/>
            <a:ext cx="9756000" cy="54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rot="5400000">
            <a:off x="9432863" y="-309839"/>
            <a:ext cx="309009" cy="1278759"/>
          </a:xfrm>
          <a:prstGeom prst="rect">
            <a:avLst/>
          </a:prstGeom>
        </p:spPr>
      </p:pic>
      <p:sp>
        <p:nvSpPr>
          <p:cNvPr id="12" name="Rechteck 11"/>
          <p:cNvSpPr>
            <a:spLocks/>
          </p:cNvSpPr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792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200" b="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2563" indent="-18256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14375" indent="-217488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6452">
          <p15:clr>
            <a:srgbClr val="F26B43"/>
          </p15:clr>
        </p15:guide>
        <p15:guide id="3" pos="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E41F-145E-400E-8767-E69054170D21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dirty="0" smtClean="0"/>
              <a:t>Data </a:t>
            </a:r>
            <a:r>
              <a:rPr lang="de-DE" dirty="0" err="1" smtClean="0"/>
              <a:t>Insights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sz="3200" dirty="0" err="1"/>
              <a:t>Teil</a:t>
            </a:r>
            <a:r>
              <a:rPr lang="en-US" sz="3200" dirty="0"/>
              <a:t> </a:t>
            </a:r>
            <a:r>
              <a:rPr lang="en-US" sz="3200" dirty="0" smtClean="0"/>
              <a:t>I: </a:t>
            </a:r>
            <a:r>
              <a:rPr lang="en-US" sz="3200" dirty="0" err="1"/>
              <a:t>Einführung</a:t>
            </a:r>
            <a:r>
              <a:rPr lang="en-US" sz="3200" dirty="0"/>
              <a:t> </a:t>
            </a:r>
            <a:r>
              <a:rPr lang="en-US" sz="3200" dirty="0" smtClean="0"/>
              <a:t>in Data Science</a:t>
            </a:r>
            <a:endParaRPr lang="en-US" sz="32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68699" y="5333682"/>
            <a:ext cx="2874576" cy="686117"/>
          </a:xfrm>
        </p:spPr>
        <p:txBody>
          <a:bodyPr/>
          <a:lstStyle/>
          <a:p>
            <a:r>
              <a:rPr lang="en-US" dirty="0" err="1" smtClean="0"/>
              <a:t>DrThM</a:t>
            </a:r>
            <a:endParaRPr lang="en-US" dirty="0"/>
          </a:p>
          <a:p>
            <a:r>
              <a:rPr lang="en-US" dirty="0" smtClean="0"/>
              <a:t>06</a:t>
            </a:r>
            <a:r>
              <a:rPr lang="en-US" dirty="0" smtClean="0"/>
              <a:t>.10.17</a:t>
            </a:r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10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Mustererkennung über Cluster-Analyse</a:t>
            </a:r>
            <a:endParaRPr lang="de-DE" sz="24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0EF67-E2A6-49F1-8E86-8139392B443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450849" y="1408714"/>
            <a:ext cx="10030631" cy="5703784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8290729" y="2327199"/>
            <a:ext cx="2159560" cy="3464001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589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Folgerungen (Knowledge Akquisition)</a:t>
            </a:r>
            <a:endParaRPr lang="de-DE" sz="2400" i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sz="half" idx="1"/>
              </p:nvPr>
            </p:nvSpPr>
            <p:spPr/>
            <p:txBody>
              <a:bodyPr>
                <a:normAutofit lnSpcReduction="10000"/>
              </a:bodyPr>
              <a:lstStyle/>
              <a:p>
                <a:r>
                  <a:rPr lang="de-DE" i="1" dirty="0" smtClean="0"/>
                  <a:t>Knowledge </a:t>
                </a:r>
                <a:r>
                  <a:rPr lang="de-DE" i="1" dirty="0" err="1" smtClean="0"/>
                  <a:t>Aquisition</a:t>
                </a:r>
                <a:r>
                  <a:rPr lang="de-DE" dirty="0" smtClean="0"/>
                  <a:t>: Aus Klassifikation Wissen generieren, z.B.</a:t>
                </a:r>
              </a:p>
              <a:p>
                <a:pPr marL="839787" lvl="1" indent="-342900">
                  <a:buFont typeface="+mj-lt"/>
                  <a:buAutoNum type="arabicPeriod"/>
                </a:pPr>
                <a:r>
                  <a:rPr lang="de-DE" dirty="0" smtClean="0"/>
                  <a:t>Nach welchen für Menschen verständlichen Regeln kommt diese Klassifikation zustande?</a:t>
                </a:r>
              </a:p>
              <a:p>
                <a:pPr lvl="2"/>
                <a:r>
                  <a:rPr lang="de-DE" dirty="0" smtClean="0"/>
                  <a:t>Klassifikation 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de-DE" dirty="0" smtClean="0"/>
                  <a:t> Einteilung in Gruppen</a:t>
                </a:r>
              </a:p>
              <a:p>
                <a:pPr lvl="2"/>
                <a:r>
                  <a:rPr lang="de-DE" dirty="0" smtClean="0"/>
                  <a:t>Miller-Optimum (aus der Psychologie): Nur 5-7 Regeln</a:t>
                </a:r>
              </a:p>
              <a:p>
                <a:pPr marL="839787" lvl="1" indent="-342900">
                  <a:buFont typeface="+mj-lt"/>
                  <a:buAutoNum type="arabicPeriod"/>
                </a:pPr>
                <a:r>
                  <a:rPr lang="de-DE" dirty="0" smtClean="0"/>
                  <a:t>Lassen sich Vorhersagen aus dieser Klassifikation/diesem gefunden Mustern generieren?</a:t>
                </a:r>
              </a:p>
              <a:p>
                <a:pPr marL="0" indent="0">
                  <a:buNone/>
                </a:pPr>
                <a:r>
                  <a:rPr lang="de-DE" dirty="0" smtClean="0"/>
                  <a:t>Doch Zuerst:</a:t>
                </a:r>
              </a:p>
              <a:p>
                <a:r>
                  <a:rPr lang="de-DE" dirty="0" smtClean="0"/>
                  <a:t>Ist ein Ergebnis sinnvoll? </a:t>
                </a:r>
              </a:p>
              <a:p>
                <a:pPr>
                  <a:buFont typeface="Symbol" panose="05050102010706020507" pitchFamily="18" charset="2"/>
                  <a:buChar char="Þ"/>
                </a:pPr>
                <a:r>
                  <a:rPr lang="de-DE" dirty="0" smtClean="0"/>
                  <a:t>Rückfrage zum Experten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r>
                  <a:rPr lang="de-DE" dirty="0" smtClean="0"/>
                  <a:t>Beispiel: Heizungen klassifiziert</a:t>
                </a:r>
              </a:p>
              <a:p>
                <a:r>
                  <a:rPr lang="de-DE" dirty="0" smtClean="0"/>
                  <a:t>Sind die Gruppen nur durch Heizungstypen bestimmt oder gibt es eine Gruppe von „fehlerhaften“ Heizungen?</a:t>
                </a:r>
              </a:p>
              <a:p>
                <a:pPr>
                  <a:buFont typeface="Symbol" panose="05050102010706020507" pitchFamily="18" charset="2"/>
                  <a:buChar char="Þ"/>
                </a:pPr>
                <a:endParaRPr lang="de-DE" dirty="0"/>
              </a:p>
              <a:p>
                <a:pPr>
                  <a:buFont typeface="Symbol" panose="05050102010706020507" pitchFamily="18" charset="2"/>
                  <a:buChar char="Þ"/>
                </a:pPr>
                <a:endParaRPr lang="de-DE" dirty="0" smtClean="0"/>
              </a:p>
              <a:p>
                <a:pPr>
                  <a:buFont typeface="Symbol" panose="05050102010706020507" pitchFamily="18" charset="2"/>
                  <a:buChar char="Þ"/>
                </a:pPr>
                <a:endParaRPr lang="de-DE" dirty="0"/>
              </a:p>
              <a:p>
                <a:pPr>
                  <a:buFont typeface="Symbol" panose="05050102010706020507" pitchFamily="18" charset="2"/>
                  <a:buChar char="Þ"/>
                </a:pPr>
                <a:endParaRPr lang="de-DE" dirty="0" smtClean="0"/>
              </a:p>
              <a:p>
                <a:r>
                  <a:rPr lang="de-DE" dirty="0" smtClean="0"/>
                  <a:t>Viel Wissen über die Daten vorhanden und dadurch viele sinnvolle Vorannahmen möglich</a:t>
                </a:r>
              </a:p>
              <a:p>
                <a:pPr lvl="1"/>
                <a:r>
                  <a:rPr lang="de-DE" dirty="0" smtClean="0"/>
                  <a:t>Expertenwissen oder durch ausführliche zeitaufwendige manuelle Analysen</a:t>
                </a:r>
              </a:p>
              <a:p>
                <a:r>
                  <a:rPr lang="de-DE" dirty="0" smtClean="0"/>
                  <a:t>Beispiel: „Vorhersage“: Muster über Clusteranalyse bekannt -&gt; </a:t>
                </a:r>
                <a:r>
                  <a:rPr lang="de-DE" dirty="0" err="1" smtClean="0"/>
                  <a:t>Machin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learning</a:t>
                </a:r>
                <a:r>
                  <a:rPr lang="de-DE" dirty="0"/>
                  <a:t> </a:t>
                </a:r>
                <a:r>
                  <a:rPr lang="de-DE" dirty="0" smtClean="0"/>
                  <a:t>über einen </a:t>
                </a:r>
                <a:r>
                  <a:rPr lang="de-DE" dirty="0" err="1" smtClean="0"/>
                  <a:t>Klassifikator</a:t>
                </a:r>
                <a:endParaRPr lang="de-DE" dirty="0" smtClean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half" idx="1"/>
              </p:nvPr>
            </p:nvSpPr>
            <p:spPr>
              <a:blipFill>
                <a:blip r:embed="rId2"/>
                <a:stretch>
                  <a:fillRect l="-1249" t="-169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BB78C-F6C2-4956-A14E-AE6317C93C80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459947" y="5052137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95690" rtl="0" eaLnBrk="1" latinLnBrk="0" hangingPunct="1">
              <a:spcBef>
                <a:spcPct val="0"/>
              </a:spcBef>
              <a:buNone/>
              <a:defRPr sz="2200" b="1" i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DE" sz="2400" i="0" dirty="0"/>
              <a:t>Wann sind Automatisierung sinnvoll möglich</a:t>
            </a:r>
            <a:r>
              <a:rPr lang="de-DE" sz="2400" i="0" dirty="0" smtClean="0"/>
              <a:t>?</a:t>
            </a:r>
            <a:endParaRPr lang="de-DE" sz="2400" i="0" dirty="0"/>
          </a:p>
        </p:txBody>
      </p:sp>
    </p:spTree>
    <p:extLst>
      <p:ext uri="{BB962C8B-B14F-4D97-AF65-F5344CB8AC3E}">
        <p14:creationId xmlns:p14="http://schemas.microsoft.com/office/powerpoint/2010/main" val="1254638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Zusammenfassung Data Scienc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84922" y="1300381"/>
            <a:ext cx="4314954" cy="427418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de-DE" sz="2000" dirty="0" smtClean="0"/>
              <a:t>„Knowledge Discovery– Magie“</a:t>
            </a:r>
          </a:p>
          <a:p>
            <a:r>
              <a:rPr lang="de-DE" dirty="0" smtClean="0"/>
              <a:t>Richtige Auswahl und Kombination von Methoden unter </a:t>
            </a:r>
            <a:r>
              <a:rPr lang="de-DE" b="1" dirty="0" smtClean="0"/>
              <a:t>Beachtung von Fragestellung </a:t>
            </a:r>
            <a:r>
              <a:rPr lang="de-DE" dirty="0" smtClean="0"/>
              <a:t>und mathematischen Voraussetzungen</a:t>
            </a:r>
          </a:p>
          <a:p>
            <a:r>
              <a:rPr lang="de-DE" dirty="0" smtClean="0"/>
              <a:t>Kreisförmiger und wiederholter, </a:t>
            </a:r>
            <a:r>
              <a:rPr lang="de-DE" b="1" dirty="0" smtClean="0"/>
              <a:t>manueller</a:t>
            </a:r>
            <a:r>
              <a:rPr lang="de-DE" dirty="0" smtClean="0"/>
              <a:t> Durchlauf der Knowledge Discovery</a:t>
            </a:r>
          </a:p>
          <a:p>
            <a:r>
              <a:rPr lang="de-DE" dirty="0" smtClean="0"/>
              <a:t>Ca. 80% Arbeitsaufwand für Datenverarbeitung (</a:t>
            </a:r>
            <a:r>
              <a:rPr lang="de-DE" dirty="0" err="1" smtClean="0"/>
              <a:t>feature</a:t>
            </a:r>
            <a:r>
              <a:rPr lang="de-DE" dirty="0" smtClean="0"/>
              <a:t> </a:t>
            </a:r>
            <a:r>
              <a:rPr lang="de-DE" dirty="0" err="1" smtClean="0"/>
              <a:t>selection</a:t>
            </a:r>
            <a:r>
              <a:rPr lang="de-DE" dirty="0" smtClean="0"/>
              <a:t>, </a:t>
            </a:r>
            <a:r>
              <a:rPr lang="de-DE" dirty="0" err="1" smtClean="0"/>
              <a:t>preprocessing</a:t>
            </a:r>
            <a:r>
              <a:rPr lang="de-DE" dirty="0" smtClean="0"/>
              <a:t> </a:t>
            </a:r>
            <a:r>
              <a:rPr lang="de-DE" dirty="0" err="1" smtClean="0"/>
              <a:t>feature</a:t>
            </a:r>
            <a:r>
              <a:rPr lang="de-DE" dirty="0" smtClean="0"/>
              <a:t> </a:t>
            </a:r>
            <a:r>
              <a:rPr lang="de-DE" dirty="0" err="1" smtClean="0"/>
              <a:t>extraction</a:t>
            </a:r>
            <a:r>
              <a:rPr lang="de-DE" dirty="0" smtClean="0"/>
              <a:t>), falls Datensatz </a:t>
            </a:r>
            <a:r>
              <a:rPr lang="de-DE" b="1" dirty="0" smtClean="0"/>
              <a:t>strukturiert </a:t>
            </a:r>
            <a:r>
              <a:rPr lang="de-DE" dirty="0" smtClean="0"/>
              <a:t>vorliegt</a:t>
            </a:r>
          </a:p>
          <a:p>
            <a:endParaRPr lang="de-DE" dirty="0"/>
          </a:p>
          <a:p>
            <a:endParaRPr lang="de-DE" dirty="0" smtClean="0"/>
          </a:p>
          <a:p>
            <a:pPr marL="0" indent="0" algn="ctr">
              <a:buNone/>
            </a:pPr>
            <a:r>
              <a:rPr lang="de-DE" i="1" dirty="0" smtClean="0"/>
              <a:t>Automatisierungen </a:t>
            </a:r>
            <a:r>
              <a:rPr lang="de-DE" i="1" dirty="0"/>
              <a:t>nur mit vielen Vorannahmen möglich (Expertenwissen, Mathematik, sehr präzise definierte Problemstellung)</a:t>
            </a:r>
          </a:p>
          <a:p>
            <a:endParaRPr lang="de-DE" b="1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D2ABFA-CE7F-45C4-9F70-EA3A9C2F148D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5400000">
            <a:off x="-898638" y="2212137"/>
            <a:ext cx="3865412" cy="200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01DMundKDVorgehensModell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07" t="27534" r="733" b="9150"/>
          <a:stretch/>
        </p:blipFill>
        <p:spPr bwMode="auto">
          <a:xfrm>
            <a:off x="7600671" y="1408714"/>
            <a:ext cx="2219537" cy="3822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Inhaltsplatzhalter 2"/>
          <p:cNvSpPr txBox="1">
            <a:spLocks/>
          </p:cNvSpPr>
          <p:nvPr/>
        </p:nvSpPr>
        <p:spPr>
          <a:xfrm>
            <a:off x="3152210" y="5917880"/>
            <a:ext cx="6651112" cy="9359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de-DE" sz="1800" b="1" dirty="0" smtClean="0"/>
              <a:t>Wichtig: Strukturierte Daten und Experte!</a:t>
            </a:r>
          </a:p>
        </p:txBody>
      </p:sp>
      <p:cxnSp>
        <p:nvCxnSpPr>
          <p:cNvPr id="12" name="Gerade Verbindung mit Pfeil 11"/>
          <p:cNvCxnSpPr/>
          <p:nvPr/>
        </p:nvCxnSpPr>
        <p:spPr>
          <a:xfrm flipV="1">
            <a:off x="7782409" y="4933722"/>
            <a:ext cx="1555266" cy="1112423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flipH="1" flipV="1">
            <a:off x="1485900" y="5231250"/>
            <a:ext cx="1431472" cy="829625"/>
          </a:xfrm>
          <a:prstGeom prst="straightConnector1">
            <a:avLst/>
          </a:prstGeom>
          <a:ln w="1238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6" y="7112498"/>
            <a:ext cx="4874053" cy="180000"/>
          </a:xfrm>
        </p:spPr>
        <p:txBody>
          <a:bodyPr/>
          <a:lstStyle/>
          <a:p>
            <a:r>
              <a:rPr lang="de-DE" sz="1100" dirty="0" smtClean="0"/>
              <a:t>Details: Vorlesung Knowledge Discovery </a:t>
            </a:r>
            <a:r>
              <a:rPr lang="de-DE" sz="1100" dirty="0" err="1" smtClean="0"/>
              <a:t>by</a:t>
            </a:r>
            <a:r>
              <a:rPr lang="de-DE" sz="1100" dirty="0" smtClean="0"/>
              <a:t> Prof. Dr. </a:t>
            </a:r>
            <a:r>
              <a:rPr lang="de-DE" sz="1100" dirty="0" err="1" smtClean="0"/>
              <a:t>Ultsch</a:t>
            </a:r>
            <a:r>
              <a:rPr lang="de-DE" sz="1100" dirty="0" smtClean="0"/>
              <a:t>, Uni Marburg</a:t>
            </a:r>
            <a:endParaRPr lang="de-DE" sz="1100" dirty="0"/>
          </a:p>
        </p:txBody>
      </p:sp>
      <p:cxnSp>
        <p:nvCxnSpPr>
          <p:cNvPr id="17" name="Gerade Verbindung mit Pfeil 16"/>
          <p:cNvCxnSpPr/>
          <p:nvPr/>
        </p:nvCxnSpPr>
        <p:spPr>
          <a:xfrm>
            <a:off x="1690640" y="3056579"/>
            <a:ext cx="1206332" cy="946"/>
          </a:xfrm>
          <a:prstGeom prst="straightConnector1">
            <a:avLst/>
          </a:prstGeom>
          <a:ln w="146050">
            <a:solidFill>
              <a:schemeClr val="accent6">
                <a:lumMod val="75000"/>
                <a:alpha val="83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9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98839"/>
            <a:ext cx="9756000" cy="540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endParaRPr lang="de-DE" sz="2000" dirty="0"/>
          </a:p>
          <a:p>
            <a:pPr marL="0" indent="0" algn="ctr">
              <a:buNone/>
            </a:pPr>
            <a:endParaRPr lang="de-DE" sz="2000" dirty="0" smtClean="0"/>
          </a:p>
          <a:p>
            <a:pPr marL="0" indent="0" algn="ctr">
              <a:buNone/>
            </a:pPr>
            <a:r>
              <a:rPr lang="de-DE" sz="2000" dirty="0" smtClean="0"/>
              <a:t>Vielen Dank fürs Zuhören.</a:t>
            </a:r>
          </a:p>
          <a:p>
            <a:pPr marL="0" indent="0" algn="ctr">
              <a:buNone/>
            </a:pPr>
            <a:r>
              <a:rPr lang="de-DE" sz="2000" dirty="0" smtClean="0"/>
              <a:t>Noch Fragen?</a:t>
            </a:r>
            <a:endParaRPr lang="de-DE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020FF-CC6A-4D51-88E4-2700080A66C5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31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Was ist Data Science?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9756000" cy="5400675"/>
          </a:xfrm>
        </p:spPr>
        <p:txBody>
          <a:bodyPr>
            <a:noAutofit/>
          </a:bodyPr>
          <a:lstStyle/>
          <a:p>
            <a:r>
              <a:rPr lang="de-DE" dirty="0" smtClean="0"/>
              <a:t>Data Science kombiniert Statistik und Knowledge Discovery</a:t>
            </a:r>
          </a:p>
          <a:p>
            <a:endParaRPr lang="de-DE" dirty="0" smtClean="0"/>
          </a:p>
          <a:p>
            <a:r>
              <a:rPr lang="de-DE" dirty="0" smtClean="0"/>
              <a:t>Statistik:</a:t>
            </a:r>
          </a:p>
          <a:p>
            <a:pPr lvl="1"/>
            <a:r>
              <a:rPr lang="de-DE" dirty="0" smtClean="0"/>
              <a:t>Zuerst Vermutung („Modell aus Beobachtung“) anstellen </a:t>
            </a:r>
            <a:r>
              <a:rPr lang="de-DE" b="1" dirty="0" smtClean="0"/>
              <a:t>danach</a:t>
            </a:r>
            <a:r>
              <a:rPr lang="de-DE" dirty="0" smtClean="0"/>
              <a:t> </a:t>
            </a:r>
            <a:r>
              <a:rPr lang="de-DE" b="1" dirty="0" smtClean="0"/>
              <a:t>Daten</a:t>
            </a:r>
            <a:r>
              <a:rPr lang="de-DE" dirty="0" smtClean="0"/>
              <a:t> </a:t>
            </a:r>
            <a:r>
              <a:rPr lang="de-DE" b="1" dirty="0" smtClean="0"/>
              <a:t>gezielt</a:t>
            </a:r>
            <a:r>
              <a:rPr lang="de-DE" dirty="0" smtClean="0"/>
              <a:t> sammeln und dadurch Vermutung überprüfen („Hypothese verifizieren“)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Knowledge Discovery</a:t>
            </a:r>
          </a:p>
          <a:p>
            <a:pPr lvl="1"/>
            <a:r>
              <a:rPr lang="de-DE" b="1" dirty="0" smtClean="0"/>
              <a:t>Zuerst</a:t>
            </a:r>
            <a:r>
              <a:rPr lang="de-DE" dirty="0" smtClean="0"/>
              <a:t> alle möglichen </a:t>
            </a:r>
            <a:r>
              <a:rPr lang="de-DE" b="1" dirty="0" smtClean="0"/>
              <a:t>Daten sammeln </a:t>
            </a:r>
            <a:r>
              <a:rPr lang="de-DE" dirty="0" smtClean="0"/>
              <a:t>danach explorativ Wissen extrahieren</a:t>
            </a:r>
          </a:p>
          <a:p>
            <a:pPr lvl="1"/>
            <a:r>
              <a:rPr lang="de-DE" dirty="0"/>
              <a:t>Inspektion einer Datensammlung mit dem Ziel der Entdeckung von </a:t>
            </a:r>
            <a:r>
              <a:rPr lang="de-DE" b="1" dirty="0"/>
              <a:t>verwertbaren</a:t>
            </a:r>
            <a:r>
              <a:rPr lang="de-DE" dirty="0"/>
              <a:t> Wissen</a:t>
            </a:r>
          </a:p>
          <a:p>
            <a:pPr lvl="1"/>
            <a:endParaRPr lang="de-DE" dirty="0" smtClean="0"/>
          </a:p>
          <a:p>
            <a:pPr marL="496887" lvl="1" indent="0">
              <a:buNone/>
            </a:pPr>
            <a:endParaRPr lang="de-DE" dirty="0" smtClean="0"/>
          </a:p>
          <a:p>
            <a:pPr marL="496887" lvl="1" indent="0">
              <a:buNone/>
            </a:pPr>
            <a:endParaRPr lang="de-DE" dirty="0" smtClean="0"/>
          </a:p>
          <a:p>
            <a:r>
              <a:rPr lang="de-DE" b="1" dirty="0" smtClean="0"/>
              <a:t>Explorativ: </a:t>
            </a:r>
            <a:r>
              <a:rPr lang="de-DE" dirty="0" smtClean="0"/>
              <a:t>Keine Modell/Beobachtung =&gt; möglichst wenige Grundannahmen</a:t>
            </a:r>
            <a:endParaRPr lang="de-DE" dirty="0"/>
          </a:p>
          <a:p>
            <a:r>
              <a:rPr lang="de-DE" b="1" dirty="0" smtClean="0"/>
              <a:t>Verwertbar </a:t>
            </a:r>
            <a:r>
              <a:rPr lang="de-DE" dirty="0" smtClean="0"/>
              <a:t>: Hier Kostenreduktion oder neuer Geschäftserfol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417C1B-559C-43F9-A420-E4930C533643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err="1" smtClean="0"/>
              <a:t>DrThM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135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75034-3FE9-4287-8100-15DB66F48198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Scienc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98226"/>
            <a:ext cx="5504125" cy="180000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(1) Siehe 2ten Teil des Vortrages</a:t>
            </a:r>
            <a:endParaRPr lang="de-DE" sz="1100" dirty="0">
              <a:solidFill>
                <a:schemeClr val="tx1"/>
              </a:solidFill>
            </a:endParaRPr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4546040" y="3470870"/>
            <a:ext cx="6147360" cy="3552105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</p:spPr>
        <p:txBody>
          <a:bodyPr/>
          <a:lstStyle/>
          <a:p>
            <a:pPr algn="ctr"/>
            <a:r>
              <a:rPr lang="de-DE" sz="2400" i="0" dirty="0" smtClean="0"/>
              <a:t>Wie funktioniert Data Science?</a:t>
            </a:r>
            <a:endParaRPr lang="de-DE" sz="2400" i="0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450851" y="1408714"/>
            <a:ext cx="4774292" cy="52243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5424147" y="1408714"/>
            <a:ext cx="4478338" cy="2020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dirty="0"/>
          </a:p>
        </p:txBody>
      </p:sp>
      <p:sp>
        <p:nvSpPr>
          <p:cNvPr id="15" name="Inhaltsplatzhalter 2"/>
          <p:cNvSpPr txBox="1">
            <a:spLocks/>
          </p:cNvSpPr>
          <p:nvPr/>
        </p:nvSpPr>
        <p:spPr>
          <a:xfrm>
            <a:off x="5720101" y="1365521"/>
            <a:ext cx="4478338" cy="2020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smtClean="0"/>
              <a:t>Antworten über…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Überwachtes (</a:t>
            </a:r>
            <a:r>
              <a:rPr lang="de-DE" dirty="0" err="1" smtClean="0"/>
              <a:t>Machinelles</a:t>
            </a:r>
            <a:r>
              <a:rPr lang="de-DE" dirty="0" smtClean="0"/>
              <a:t>) Lernen (1)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Anomaly</a:t>
            </a:r>
            <a:r>
              <a:rPr lang="de-DE" dirty="0" smtClean="0"/>
              <a:t>/</a:t>
            </a:r>
            <a:r>
              <a:rPr lang="de-DE" dirty="0" err="1" smtClean="0"/>
              <a:t>Outlier</a:t>
            </a:r>
            <a:r>
              <a:rPr lang="de-DE" dirty="0" smtClean="0"/>
              <a:t> </a:t>
            </a:r>
            <a:r>
              <a:rPr lang="de-DE" dirty="0" err="1" smtClean="0"/>
              <a:t>Detection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Zum Beispiel über Regression</a:t>
            </a:r>
            <a:endParaRPr lang="de-DE" dirty="0" smtClean="0"/>
          </a:p>
          <a:p>
            <a:pPr marL="342900" indent="-342900">
              <a:buFont typeface="+mj-lt"/>
              <a:buAutoNum type="arabicPeriod"/>
            </a:pPr>
            <a:r>
              <a:rPr lang="de-DE" dirty="0" err="1" smtClean="0"/>
              <a:t>Unüberwachtes</a:t>
            </a:r>
            <a:r>
              <a:rPr lang="de-DE" dirty="0" smtClean="0"/>
              <a:t> (</a:t>
            </a:r>
            <a:r>
              <a:rPr lang="de-DE" dirty="0" err="1" smtClean="0"/>
              <a:t>Machinelles</a:t>
            </a:r>
            <a:r>
              <a:rPr lang="de-DE" dirty="0" smtClean="0"/>
              <a:t>) Lernen (1) 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Zum Beispiel über Reinforcement Learning</a:t>
            </a:r>
          </a:p>
          <a:p>
            <a:endParaRPr lang="de-DE" dirty="0"/>
          </a:p>
        </p:txBody>
      </p:sp>
      <p:sp>
        <p:nvSpPr>
          <p:cNvPr id="16" name="Inhaltsplatzhalter 2"/>
          <p:cNvSpPr txBox="1">
            <a:spLocks/>
          </p:cNvSpPr>
          <p:nvPr/>
        </p:nvSpPr>
        <p:spPr>
          <a:xfrm>
            <a:off x="239058" y="3338717"/>
            <a:ext cx="4478338" cy="2020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8" name="Textplatzhalter 7"/>
          <p:cNvSpPr txBox="1">
            <a:spLocks/>
          </p:cNvSpPr>
          <p:nvPr/>
        </p:nvSpPr>
        <p:spPr>
          <a:xfrm>
            <a:off x="517091" y="3912102"/>
            <a:ext cx="3404826" cy="3726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571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39750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712787" indent="0" algn="l" defTabSz="99569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 smtClean="0">
                <a:solidFill>
                  <a:schemeClr val="tx1"/>
                </a:solidFill>
              </a:rPr>
              <a:t>Anschauliche Beispiele unter: https</a:t>
            </a:r>
            <a:r>
              <a:rPr lang="de-DE" sz="1100" dirty="0">
                <a:solidFill>
                  <a:schemeClr val="tx1"/>
                </a:solidFill>
              </a:rPr>
              <a:t>://www.youtube.com/watch?v=0XyV91VYrDs</a:t>
            </a:r>
          </a:p>
        </p:txBody>
      </p:sp>
      <p:sp>
        <p:nvSpPr>
          <p:cNvPr id="19" name="Inhaltsplatzhalter 2"/>
          <p:cNvSpPr txBox="1">
            <a:spLocks/>
          </p:cNvSpPr>
          <p:nvPr/>
        </p:nvSpPr>
        <p:spPr>
          <a:xfrm>
            <a:off x="486538" y="1318431"/>
            <a:ext cx="4856987" cy="24541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 smtClean="0"/>
              <a:t>Fragen: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Gehört die Information zu A, zu B oder zu C?</a:t>
            </a:r>
          </a:p>
          <a:p>
            <a:pPr marL="817562" lvl="1" indent="-285750"/>
            <a:r>
              <a:rPr lang="de-DE" dirty="0" smtClean="0"/>
              <a:t>Gruppen A,B und C vorgegeb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Ist an den Informationen etwas komisch?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Wieviel? 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Wie sind meine Informationen organsiert?</a:t>
            </a:r>
          </a:p>
          <a:p>
            <a:pPr marL="817562" lvl="1" indent="-285750"/>
            <a:r>
              <a:rPr lang="de-DE" dirty="0" smtClean="0"/>
              <a:t>Gruppen nicht vorgegeb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smtClean="0"/>
              <a:t>Was sollte als Nächstes getan werden?</a:t>
            </a:r>
          </a:p>
          <a:p>
            <a:pPr marL="342900" indent="-342900">
              <a:buFont typeface="+mj-lt"/>
              <a:buAutoNum type="arabicPeriod"/>
            </a:pP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752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CA6D2-91D5-4720-B55C-7AA9E2A17447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Scienc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Thrun, M;.C.: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100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100" i="1" dirty="0" smtClean="0">
                <a:solidFill>
                  <a:schemeClr val="tx1"/>
                </a:solidFill>
              </a:rPr>
              <a:t>Intelligence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dirty="0" smtClean="0">
                <a:solidFill>
                  <a:schemeClr val="tx1"/>
                </a:solidFill>
              </a:rPr>
              <a:t>Springer (in print), </a:t>
            </a:r>
            <a:r>
              <a:rPr lang="en-US" sz="1100" dirty="0" smtClean="0">
                <a:solidFill>
                  <a:schemeClr val="tx1"/>
                </a:solidFill>
              </a:rPr>
              <a:t>Heidelberg, 2017</a:t>
            </a:r>
            <a:endParaRPr lang="de-DE" sz="1100" dirty="0">
              <a:solidFill>
                <a:schemeClr val="tx1"/>
              </a:solidFill>
            </a:endParaRPr>
          </a:p>
        </p:txBody>
      </p:sp>
      <p:pic>
        <p:nvPicPr>
          <p:cNvPr id="9" name="Picture 6"/>
          <p:cNvPicPr>
            <a:picLocks noGrp="1"/>
          </p:cNvPicPr>
          <p:nvPr>
            <p:ph sz="half"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1542177" y="2545805"/>
            <a:ext cx="7738031" cy="4210638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1542177" y="3217984"/>
            <a:ext cx="2143998" cy="2650324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59947" y="603508"/>
            <a:ext cx="9782602" cy="676948"/>
          </a:xfrm>
        </p:spPr>
        <p:txBody>
          <a:bodyPr/>
          <a:lstStyle/>
          <a:p>
            <a:pPr algn="ctr"/>
            <a:r>
              <a:rPr lang="de-DE" sz="2400" i="0" dirty="0" smtClean="0"/>
              <a:t>Prozess der Knowledge Discovery</a:t>
            </a:r>
            <a:endParaRPr lang="de-DE" sz="2400" i="0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663395" y="1059351"/>
            <a:ext cx="8471080" cy="14864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14375" indent="-217488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Prozess wird immer iterativ und meist in Schleifen wiederholt durchgeführt</a:t>
            </a:r>
          </a:p>
          <a:p>
            <a:r>
              <a:rPr lang="de-DE" dirty="0" smtClean="0"/>
              <a:t>Im </a:t>
            </a:r>
            <a:r>
              <a:rPr lang="de-DE" dirty="0"/>
              <a:t>Allgemeinen wird </a:t>
            </a:r>
            <a:r>
              <a:rPr lang="de-DE" dirty="0" smtClean="0"/>
              <a:t>„</a:t>
            </a:r>
            <a:r>
              <a:rPr lang="de-DE" dirty="0" err="1" smtClean="0"/>
              <a:t>machine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r>
              <a:rPr lang="de-DE" dirty="0" smtClean="0"/>
              <a:t>“ im </a:t>
            </a:r>
            <a:r>
              <a:rPr lang="de-DE" dirty="0"/>
              <a:t>4.ten Schritt angewendet</a:t>
            </a:r>
          </a:p>
          <a:p>
            <a:pPr lvl="1"/>
            <a:r>
              <a:rPr lang="de-DE" dirty="0"/>
              <a:t>Zur Anschaulichkeit im 2ten Teil des Vortrages liegt hier der Fokus auf </a:t>
            </a:r>
            <a:r>
              <a:rPr lang="de-DE" dirty="0" err="1"/>
              <a:t>cluster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</a:p>
          <a:p>
            <a:endParaRPr lang="de-DE" dirty="0" smtClean="0"/>
          </a:p>
          <a:p>
            <a:r>
              <a:rPr lang="de-DE" dirty="0" smtClean="0"/>
              <a:t>Als Beispiel „</a:t>
            </a:r>
            <a:r>
              <a:rPr lang="de-DE" dirty="0" err="1" smtClean="0"/>
              <a:t>feature</a:t>
            </a:r>
            <a:r>
              <a:rPr lang="de-DE" dirty="0" smtClean="0"/>
              <a:t> </a:t>
            </a:r>
            <a:r>
              <a:rPr lang="de-DE" dirty="0" err="1" smtClean="0"/>
              <a:t>selection</a:t>
            </a:r>
            <a:r>
              <a:rPr lang="de-DE" dirty="0" smtClean="0"/>
              <a:t>“ betrachten</a:t>
            </a:r>
          </a:p>
          <a:p>
            <a:endParaRPr lang="de-DE" dirty="0" smtClean="0"/>
          </a:p>
          <a:p>
            <a:pPr algn="ctr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1802262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603508"/>
            <a:ext cx="10693400" cy="676948"/>
          </a:xfrm>
        </p:spPr>
        <p:txBody>
          <a:bodyPr/>
          <a:lstStyle/>
          <a:p>
            <a:pPr algn="ctr"/>
            <a:r>
              <a:rPr lang="de-DE" sz="2400" i="0" dirty="0" smtClean="0"/>
              <a:t>Generierung eines strukturierten Datensatzes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0850" y="1408714"/>
            <a:ext cx="5407779" cy="5703783"/>
          </a:xfrm>
        </p:spPr>
        <p:txBody>
          <a:bodyPr>
            <a:normAutofit fontScale="92500" lnSpcReduction="10000"/>
          </a:bodyPr>
          <a:lstStyle/>
          <a:p>
            <a:r>
              <a:rPr lang="de-DE" dirty="0" smtClean="0"/>
              <a:t>Herausforderung beim Datensammeln </a:t>
            </a:r>
          </a:p>
          <a:p>
            <a:pPr lvl="1"/>
            <a:r>
              <a:rPr lang="de-DE" dirty="0" smtClean="0"/>
              <a:t>Auflösung –&gt; Experten fragen!</a:t>
            </a:r>
          </a:p>
          <a:p>
            <a:pPr lvl="1"/>
            <a:r>
              <a:rPr lang="de-DE" dirty="0"/>
              <a:t>Relevanz der </a:t>
            </a:r>
            <a:r>
              <a:rPr lang="de-DE" dirty="0" smtClean="0"/>
              <a:t>Features </a:t>
            </a:r>
            <a:r>
              <a:rPr lang="de-DE" dirty="0"/>
              <a:t>je nach </a:t>
            </a:r>
            <a:r>
              <a:rPr lang="de-DE" dirty="0" smtClean="0"/>
              <a:t>Problemstellungen</a:t>
            </a:r>
          </a:p>
          <a:p>
            <a:pPr lvl="1"/>
            <a:r>
              <a:rPr lang="de-DE" dirty="0" smtClean="0"/>
              <a:t>Im Normalfall Unstrukturiert vorliegend</a:t>
            </a:r>
          </a:p>
          <a:p>
            <a:pPr lvl="2"/>
            <a:r>
              <a:rPr lang="de-DE" dirty="0" smtClean="0"/>
              <a:t>Liegen vor als Zahlen, Schriftzeichen, Hexadezimal codiert, An/Aus (0/1) gekennzeichnet, Arrays, </a:t>
            </a:r>
            <a:r>
              <a:rPr lang="de-DE" dirty="0" err="1" smtClean="0"/>
              <a:t>usw</a:t>
            </a:r>
            <a:r>
              <a:rPr lang="de-DE" dirty="0" smtClean="0"/>
              <a:t>…</a:t>
            </a:r>
          </a:p>
          <a:p>
            <a:pPr lvl="2"/>
            <a:r>
              <a:rPr lang="de-DE" dirty="0" smtClean="0"/>
              <a:t>In vielen „Unterordnern“ verteilt gespeichert</a:t>
            </a:r>
          </a:p>
          <a:p>
            <a:pPr lvl="1"/>
            <a:r>
              <a:rPr lang="de-DE" dirty="0" smtClean="0"/>
              <a:t>Variablenbezeichnung nicht einheitlich/Bedeutung unklar</a:t>
            </a:r>
          </a:p>
          <a:p>
            <a:pPr lvl="1"/>
            <a:r>
              <a:rPr lang="de-DE" dirty="0" smtClean="0"/>
              <a:t>Falsches </a:t>
            </a:r>
            <a:r>
              <a:rPr lang="de-DE" dirty="0" err="1" smtClean="0"/>
              <a:t>Preprocessing</a:t>
            </a:r>
            <a:r>
              <a:rPr lang="de-DE" dirty="0" smtClean="0"/>
              <a:t> wurde automatisiert durchgeführt</a:t>
            </a:r>
          </a:p>
          <a:p>
            <a:pPr lvl="2"/>
            <a:endParaRPr lang="de-DE" dirty="0" smtClean="0"/>
          </a:p>
          <a:p>
            <a:r>
              <a:rPr lang="de-DE" dirty="0" smtClean="0"/>
              <a:t>Strukturiere Datensatz</a:t>
            </a:r>
          </a:p>
          <a:p>
            <a:pPr lvl="1"/>
            <a:r>
              <a:rPr lang="de-DE" dirty="0" smtClean="0"/>
              <a:t>Spalten =</a:t>
            </a:r>
            <a:r>
              <a:rPr lang="de-DE" b="1" dirty="0" smtClean="0"/>
              <a:t>Variablen</a:t>
            </a:r>
            <a:r>
              <a:rPr lang="de-DE" dirty="0" smtClean="0"/>
              <a:t>/Merkmale/Eigenschaften/</a:t>
            </a:r>
            <a:r>
              <a:rPr lang="de-DE" b="1" dirty="0" err="1" smtClean="0"/>
              <a:t>features</a:t>
            </a:r>
            <a:r>
              <a:rPr lang="de-DE" dirty="0" smtClean="0"/>
              <a:t>, z.B. Temperatur</a:t>
            </a:r>
          </a:p>
          <a:p>
            <a:pPr lvl="1"/>
            <a:r>
              <a:rPr lang="de-DE" dirty="0" smtClean="0"/>
              <a:t>Zeilen: </a:t>
            </a:r>
            <a:r>
              <a:rPr lang="de-DE" b="1" dirty="0" smtClean="0"/>
              <a:t>Fälle</a:t>
            </a:r>
            <a:r>
              <a:rPr lang="de-DE" dirty="0" smtClean="0"/>
              <a:t>/Cases, z.B. Device</a:t>
            </a:r>
          </a:p>
          <a:p>
            <a:pPr lvl="1"/>
            <a:r>
              <a:rPr lang="de-DE" dirty="0" smtClean="0"/>
              <a:t>Key: Eindeutige Zuordnung, z.B. Zeit, </a:t>
            </a:r>
            <a:r>
              <a:rPr lang="de-DE" dirty="0" err="1" smtClean="0"/>
              <a:t>Seriennr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Observation: </a:t>
            </a:r>
            <a:r>
              <a:rPr lang="de-DE" b="1" dirty="0" smtClean="0"/>
              <a:t>Genau ein </a:t>
            </a:r>
            <a:r>
              <a:rPr lang="de-DE" dirty="0" smtClean="0"/>
              <a:t>(möglichst numerischer) Wert pro Fall und Variable!</a:t>
            </a:r>
          </a:p>
          <a:p>
            <a:pPr lvl="1"/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-&gt; Für </a:t>
            </a:r>
            <a:r>
              <a:rPr lang="de-DE" dirty="0"/>
              <a:t>alle Analysen eine Voraussetzung!</a:t>
            </a:r>
          </a:p>
          <a:p>
            <a:pPr marL="0" indent="0">
              <a:buNone/>
            </a:pPr>
            <a:r>
              <a:rPr lang="de-DE" dirty="0" smtClean="0"/>
              <a:t>-&gt; Zeitaufwendig</a:t>
            </a:r>
            <a:endParaRPr lang="de-DE" dirty="0"/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A3E3E-0864-4672-A5CA-DE0889B85531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pic>
        <p:nvPicPr>
          <p:cNvPr id="17411" name="Picture 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" t="-729" r="65013" b="47957"/>
          <a:stretch/>
        </p:blipFill>
        <p:spPr bwMode="auto">
          <a:xfrm>
            <a:off x="6154057" y="1999423"/>
            <a:ext cx="4380817" cy="4952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2709429" cy="180000"/>
          </a:xfrm>
        </p:spPr>
        <p:txBody>
          <a:bodyPr/>
          <a:lstStyle/>
          <a:p>
            <a:r>
              <a:rPr lang="de-DE" dirty="0" err="1" smtClean="0"/>
              <a:t>Dr</a:t>
            </a:r>
            <a:r>
              <a:rPr lang="de-DE" dirty="0" err="1" smtClean="0"/>
              <a:t>ThM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6281677" y="1614432"/>
            <a:ext cx="2695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Variablen/</a:t>
            </a:r>
            <a:r>
              <a:rPr lang="de-DE" b="1" dirty="0" smtClean="0"/>
              <a:t>Features</a:t>
            </a:r>
            <a:r>
              <a:rPr lang="de-DE" dirty="0" smtClean="0"/>
              <a:t> -&gt;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 rot="5400000">
            <a:off x="5031313" y="2716207"/>
            <a:ext cx="18453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Fälle/Cases -&gt;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4289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1100" i="0" dirty="0" smtClean="0"/>
              <a:t>Betrachtung eines Features</a:t>
            </a:r>
            <a:endParaRPr lang="de-DE" sz="1100" i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65C6A-6C35-428C-BE20-F6F0EAD12082}" type="datetime1">
              <a:rPr lang="de-DE" sz="1100" smtClean="0"/>
              <a:t>06.10.2017</a:t>
            </a:fld>
            <a:endParaRPr lang="de-DE" sz="11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z="1100" smtClean="0"/>
              <a:pPr/>
              <a:t>6</a:t>
            </a:fld>
            <a:endParaRPr lang="de-DE" sz="11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sz="1100" dirty="0" err="1"/>
              <a:t>Teil</a:t>
            </a:r>
            <a:r>
              <a:rPr lang="en-US" sz="1100" dirty="0"/>
              <a:t> I: </a:t>
            </a:r>
            <a:r>
              <a:rPr lang="en-US" sz="1100" dirty="0" err="1"/>
              <a:t>Einführung</a:t>
            </a:r>
            <a:r>
              <a:rPr lang="en-US" sz="1100" dirty="0"/>
              <a:t> in Data </a:t>
            </a:r>
            <a:r>
              <a:rPr lang="en-US" sz="1100" dirty="0" smtClean="0"/>
              <a:t>Science</a:t>
            </a:r>
            <a:endParaRPr lang="en-US" sz="1100" dirty="0"/>
          </a:p>
        </p:txBody>
      </p:sp>
      <p:pic>
        <p:nvPicPr>
          <p:cNvPr id="9" name="Picture 6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" t="8551" r="547" b="14185"/>
          <a:stretch/>
        </p:blipFill>
        <p:spPr bwMode="auto">
          <a:xfrm>
            <a:off x="1016000" y="1625488"/>
            <a:ext cx="9226550" cy="5138169"/>
          </a:xfrm>
          <a:prstGeom prst="rect">
            <a:avLst/>
          </a:prstGeom>
          <a:solidFill>
            <a:srgbClr val="C00000"/>
          </a:solidFill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z="1100" smtClean="0"/>
              <a:t>Data Insights </a:t>
            </a:r>
            <a:endParaRPr lang="de-DE" sz="1100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163773" y="6923314"/>
            <a:ext cx="5504125" cy="586718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Thrun, M;.C.: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100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100" i="1" dirty="0" smtClean="0">
                <a:solidFill>
                  <a:schemeClr val="tx1"/>
                </a:solidFill>
              </a:rPr>
              <a:t>Intelligence</a:t>
            </a:r>
            <a:r>
              <a:rPr lang="en-US" sz="1100" dirty="0" smtClean="0">
                <a:solidFill>
                  <a:schemeClr val="tx1"/>
                </a:solidFill>
              </a:rPr>
              <a:t>, Springer, Heidelberg, 2017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937930" y="2475879"/>
            <a:ext cx="2159560" cy="3170178"/>
          </a:xfrm>
          <a:prstGeom prst="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757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Feature </a:t>
            </a:r>
            <a:r>
              <a:rPr lang="de-DE" sz="2400" i="0" dirty="0" err="1" smtClean="0"/>
              <a:t>Extraction</a:t>
            </a:r>
            <a:r>
              <a:rPr lang="de-DE" sz="2400" i="0" dirty="0" smtClean="0"/>
              <a:t>: Betrachtung und Transformation einer Variable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9947" y="1584325"/>
            <a:ext cx="4644317" cy="5400675"/>
          </a:xfrm>
        </p:spPr>
        <p:txBody>
          <a:bodyPr>
            <a:normAutofit fontScale="92500" lnSpcReduction="10000"/>
          </a:bodyPr>
          <a:lstStyle/>
          <a:p>
            <a:endParaRPr lang="de-DE" dirty="0" smtClean="0"/>
          </a:p>
          <a:p>
            <a:r>
              <a:rPr lang="de-DE" dirty="0" smtClean="0"/>
              <a:t>Ziel transformiere jedes Feature mit einer Methode um höhere Analysen („</a:t>
            </a:r>
            <a:r>
              <a:rPr lang="de-DE" dirty="0" err="1" smtClean="0"/>
              <a:t>advanced</a:t>
            </a:r>
            <a:r>
              <a:rPr lang="de-DE" dirty="0" smtClean="0"/>
              <a:t> </a:t>
            </a:r>
            <a:r>
              <a:rPr lang="de-DE" dirty="0" err="1" smtClean="0"/>
              <a:t>analytics</a:t>
            </a:r>
            <a:r>
              <a:rPr lang="de-DE" dirty="0" smtClean="0"/>
              <a:t>“) anzuwenden</a:t>
            </a:r>
          </a:p>
          <a:p>
            <a:r>
              <a:rPr lang="de-DE" dirty="0" smtClean="0"/>
              <a:t>Oft Nebeneffekt: Wissensgewinn/Anwendung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Beispiel:</a:t>
            </a:r>
            <a:endParaRPr lang="de-DE" dirty="0"/>
          </a:p>
          <a:p>
            <a:r>
              <a:rPr lang="de-DE" dirty="0" smtClean="0"/>
              <a:t>Ausgangslage</a:t>
            </a:r>
            <a:r>
              <a:rPr lang="de-DE" b="1" dirty="0" smtClean="0"/>
              <a:t>: </a:t>
            </a:r>
            <a:r>
              <a:rPr lang="de-DE" dirty="0" smtClean="0"/>
              <a:t>Kundenbetreuung benötigt Zeit und generiert Umsatz =&gt; </a:t>
            </a:r>
            <a:r>
              <a:rPr lang="de-DE" b="1" dirty="0" err="1" smtClean="0"/>
              <a:t>Extracted</a:t>
            </a:r>
            <a:r>
              <a:rPr lang="de-DE" b="1" dirty="0" smtClean="0"/>
              <a:t> Feature</a:t>
            </a:r>
            <a:r>
              <a:rPr lang="de-DE" dirty="0" smtClean="0"/>
              <a:t>: Umsatz/Zeit</a:t>
            </a:r>
          </a:p>
          <a:p>
            <a:r>
              <a:rPr lang="de-DE" dirty="0" smtClean="0"/>
              <a:t>Transformation: Blaue Kurve</a:t>
            </a:r>
          </a:p>
          <a:p>
            <a:r>
              <a:rPr lang="de-DE" b="1" dirty="0" smtClean="0"/>
              <a:t>Methode: </a:t>
            </a:r>
            <a:r>
              <a:rPr lang="de-DE" i="1" dirty="0" smtClean="0"/>
              <a:t>Programmierte</a:t>
            </a:r>
            <a:r>
              <a:rPr lang="de-DE" dirty="0" smtClean="0"/>
              <a:t> ABC-Analyse</a:t>
            </a:r>
          </a:p>
          <a:p>
            <a:r>
              <a:rPr lang="de-DE" b="1" dirty="0" smtClean="0"/>
              <a:t>Nebeneffekt:</a:t>
            </a:r>
          </a:p>
          <a:p>
            <a:pPr lvl="1"/>
            <a:r>
              <a:rPr lang="de-DE" dirty="0" smtClean="0"/>
              <a:t>Gruppe A: Kunden die den höchsten Umsatz bei geringstem Aufwand generieren</a:t>
            </a:r>
          </a:p>
          <a:p>
            <a:pPr lvl="1"/>
            <a:r>
              <a:rPr lang="de-DE" dirty="0" smtClean="0"/>
              <a:t>Gruppe B: Umsatz entspricht Aufwand</a:t>
            </a:r>
          </a:p>
          <a:p>
            <a:pPr lvl="1"/>
            <a:r>
              <a:rPr lang="de-DE" dirty="0" smtClean="0"/>
              <a:t>Gruppe C: Viel Aufwand für wenig Umsatz</a:t>
            </a:r>
          </a:p>
          <a:p>
            <a:endParaRPr lang="de-DE" dirty="0"/>
          </a:p>
          <a:p>
            <a:r>
              <a:rPr lang="de-DE" dirty="0" smtClean="0"/>
              <a:t>Hier entspricht Transformation nur einer Sortierung, Normierung/</a:t>
            </a:r>
            <a:r>
              <a:rPr lang="de-DE" dirty="0" err="1" smtClean="0"/>
              <a:t>Prozentuierung</a:t>
            </a:r>
            <a:r>
              <a:rPr lang="de-DE" dirty="0" smtClean="0"/>
              <a:t> und geschickten Aufsummierung der beiden Features (Umsatz und Zeit)</a:t>
            </a:r>
          </a:p>
          <a:p>
            <a:pPr lvl="1"/>
            <a:r>
              <a:rPr lang="de-DE" dirty="0" smtClean="0"/>
              <a:t>Meistens komplizierter!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EFBC2-4763-40F7-ADA1-ECE0797FD8AA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463181" cy="184396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Thrun/</a:t>
            </a:r>
            <a:r>
              <a:rPr lang="de-DE" sz="1100" dirty="0" err="1" smtClean="0">
                <a:solidFill>
                  <a:schemeClr val="tx1"/>
                </a:solidFill>
              </a:rPr>
              <a:t>Ultsch</a:t>
            </a:r>
            <a:r>
              <a:rPr lang="de-DE" sz="1100" dirty="0" smtClean="0">
                <a:solidFill>
                  <a:schemeClr val="tx1"/>
                </a:solidFill>
              </a:rPr>
              <a:t>/</a:t>
            </a:r>
            <a:r>
              <a:rPr lang="de-DE" sz="1100" dirty="0" err="1" smtClean="0">
                <a:solidFill>
                  <a:schemeClr val="tx1"/>
                </a:solidFill>
              </a:rPr>
              <a:t>Lötsch</a:t>
            </a:r>
            <a:r>
              <a:rPr lang="de-DE" sz="1100" dirty="0">
                <a:solidFill>
                  <a:schemeClr val="tx1"/>
                </a:solidFill>
              </a:rPr>
              <a:t>: https://cran.r-project.org/web/packages/ABCanalysis/index.html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9" t="5372" r="24609" b="3297"/>
          <a:stretch/>
        </p:blipFill>
        <p:spPr>
          <a:xfrm>
            <a:off x="5104264" y="1112730"/>
            <a:ext cx="5695081" cy="6179768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6429553" y="6932488"/>
            <a:ext cx="21017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 smtClean="0"/>
              <a:t>Effort</a:t>
            </a:r>
            <a:endParaRPr lang="de-DE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4849380" y="5850168"/>
            <a:ext cx="2332430" cy="4001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5400000"/>
              </a:camera>
              <a:lightRig rig="threePt" dir="t"/>
            </a:scene3d>
          </a:bodyPr>
          <a:lstStyle/>
          <a:p>
            <a:r>
              <a:rPr lang="de-DE" b="1" dirty="0" err="1" smtClean="0"/>
              <a:t>Yield</a:t>
            </a:r>
            <a:endParaRPr lang="de-DE" b="1" dirty="0"/>
          </a:p>
        </p:txBody>
      </p:sp>
      <p:sp>
        <p:nvSpPr>
          <p:cNvPr id="12" name="Fußzeilenplatzhalter 2"/>
          <p:cNvSpPr txBox="1">
            <a:spLocks/>
          </p:cNvSpPr>
          <p:nvPr/>
        </p:nvSpPr>
        <p:spPr>
          <a:xfrm>
            <a:off x="3686809" y="7264898"/>
            <a:ext cx="4248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95690" rtl="0" eaLnBrk="1" latinLnBrk="0" hangingPunct="1">
              <a:defRPr sz="8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mtClean="0"/>
              <a:t>Data Insights unter Dr. Böh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8272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Folgerungen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Fragestellung/Problemstellung sollte möglichst vom Experten kommen!</a:t>
            </a:r>
          </a:p>
          <a:p>
            <a:r>
              <a:rPr lang="de-DE" dirty="0" smtClean="0"/>
              <a:t>Analysemethoden-Wahl je nach Fragestellung</a:t>
            </a:r>
          </a:p>
          <a:p>
            <a:pPr lvl="1"/>
            <a:r>
              <a:rPr lang="de-DE" dirty="0" smtClean="0"/>
              <a:t>Analyse-Werkzeuge werden meistens kombiniert (1)</a:t>
            </a:r>
          </a:p>
          <a:p>
            <a:pPr lvl="2"/>
            <a:r>
              <a:rPr lang="de-DE" dirty="0" smtClean="0"/>
              <a:t>Mathematische Voraussetzungen zu beachten</a:t>
            </a:r>
          </a:p>
          <a:p>
            <a:pPr lvl="2"/>
            <a:r>
              <a:rPr lang="de-DE" dirty="0" smtClean="0"/>
              <a:t>Viele Kombinationen sind nicht sinnvoll oder richtig</a:t>
            </a:r>
          </a:p>
          <a:p>
            <a:pPr lvl="3"/>
            <a:r>
              <a:rPr lang="de-DE" dirty="0" smtClean="0"/>
              <a:t>Anti-Beispiel: </a:t>
            </a:r>
            <a:r>
              <a:rPr lang="de-DE" dirty="0" err="1" smtClean="0"/>
              <a:t>Principal</a:t>
            </a:r>
            <a:r>
              <a:rPr lang="de-DE" dirty="0" smtClean="0"/>
              <a:t> </a:t>
            </a:r>
            <a:r>
              <a:rPr lang="de-DE" dirty="0" err="1" smtClean="0"/>
              <a:t>Component</a:t>
            </a:r>
            <a:r>
              <a:rPr lang="de-DE" dirty="0" smtClean="0"/>
              <a:t> Analysis (PCA)+</a:t>
            </a:r>
            <a:r>
              <a:rPr lang="de-DE" dirty="0" err="1" smtClean="0"/>
              <a:t>kmeans</a:t>
            </a:r>
            <a:endParaRPr lang="de-DE" dirty="0" smtClean="0"/>
          </a:p>
          <a:p>
            <a:pPr lvl="2"/>
            <a:r>
              <a:rPr lang="de-DE" dirty="0" smtClean="0"/>
              <a:t>Tiefes Verständnis der Vor und Nachteile einzelner Methoden notwendig</a:t>
            </a:r>
          </a:p>
          <a:p>
            <a:pPr lvl="1"/>
            <a:r>
              <a:rPr lang="de-DE" dirty="0" smtClean="0"/>
              <a:t>Erfahrung in Datenanalyse relevant</a:t>
            </a:r>
          </a:p>
          <a:p>
            <a:r>
              <a:rPr lang="de-DE" dirty="0" smtClean="0"/>
              <a:t>Sinnvolle </a:t>
            </a:r>
            <a:r>
              <a:rPr lang="de-DE" dirty="0"/>
              <a:t>A</a:t>
            </a:r>
            <a:r>
              <a:rPr lang="de-DE" dirty="0" smtClean="0"/>
              <a:t>nalyse ab etwa 100 Fällen möglich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5953-85FF-4903-8B74-5BB3C4CEFD6F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112498"/>
            <a:ext cx="5504125" cy="180000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(1) Thrun, M;.C.: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i="1" dirty="0" smtClean="0">
                <a:solidFill>
                  <a:schemeClr val="tx1"/>
                </a:solidFill>
              </a:rPr>
              <a:t>A System for  Projection </a:t>
            </a:r>
            <a:r>
              <a:rPr lang="en-US" sz="1100" i="1" dirty="0">
                <a:solidFill>
                  <a:schemeClr val="tx1"/>
                </a:solidFill>
              </a:rPr>
              <a:t>Based Clustering  through Self-Organization and  Swarm </a:t>
            </a:r>
            <a:r>
              <a:rPr lang="en-US" sz="1100" i="1" dirty="0" smtClean="0">
                <a:solidFill>
                  <a:schemeClr val="tx1"/>
                </a:solidFill>
              </a:rPr>
              <a:t>Intelligence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dirty="0" smtClean="0">
                <a:solidFill>
                  <a:schemeClr val="tx1"/>
                </a:solidFill>
              </a:rPr>
              <a:t>Springer (in print), </a:t>
            </a:r>
            <a:r>
              <a:rPr lang="en-US" sz="1100" dirty="0" smtClean="0">
                <a:solidFill>
                  <a:schemeClr val="tx1"/>
                </a:solidFill>
              </a:rPr>
              <a:t>Heidelberg, 2017</a:t>
            </a: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021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sz="2400" i="0" dirty="0" smtClean="0"/>
              <a:t>Wieso möglichst viele Daten?</a:t>
            </a:r>
            <a:endParaRPr lang="de-DE" sz="2400" i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0850" y="1148897"/>
            <a:ext cx="9946796" cy="2261961"/>
          </a:xfrm>
        </p:spPr>
        <p:txBody>
          <a:bodyPr>
            <a:normAutofit/>
          </a:bodyPr>
          <a:lstStyle/>
          <a:p>
            <a:r>
              <a:rPr lang="de-DE" b="1" dirty="0" smtClean="0"/>
              <a:t>Explorativ! </a:t>
            </a:r>
            <a:r>
              <a:rPr lang="de-DE" dirty="0" smtClean="0"/>
              <a:t>=&gt; Wir wissen (ohne Hypothese) im Voraus nicht welche Variablen wir brauchen</a:t>
            </a:r>
          </a:p>
          <a:p>
            <a:r>
              <a:rPr lang="de-DE" dirty="0" smtClean="0"/>
              <a:t>Sehr viele Variablen =&gt; Sehr viele Dimensionen</a:t>
            </a:r>
          </a:p>
          <a:p>
            <a:r>
              <a:rPr lang="de-DE" dirty="0" smtClean="0"/>
              <a:t>Jede </a:t>
            </a:r>
            <a:r>
              <a:rPr lang="de-DE" dirty="0"/>
              <a:t>Dimension </a:t>
            </a:r>
            <a:r>
              <a:rPr lang="de-DE" dirty="0" smtClean="0"/>
              <a:t>könnte </a:t>
            </a:r>
            <a:r>
              <a:rPr lang="de-DE" dirty="0"/>
              <a:t>mit jeder anderen interessante Kombinationen </a:t>
            </a:r>
            <a:r>
              <a:rPr lang="de-DE" dirty="0" smtClean="0"/>
              <a:t>bilden</a:t>
            </a:r>
          </a:p>
          <a:p>
            <a:pPr lvl="1"/>
            <a:r>
              <a:rPr lang="de-DE" dirty="0" smtClean="0"/>
              <a:t>d.h</a:t>
            </a:r>
            <a:r>
              <a:rPr lang="de-DE" dirty="0"/>
              <a:t>. idealerweise wären 100</a:t>
            </a:r>
            <a:r>
              <a:rPr lang="de-DE" baseline="30000" dirty="0"/>
              <a:t>n</a:t>
            </a:r>
            <a:r>
              <a:rPr lang="de-DE" dirty="0"/>
              <a:t> Daten </a:t>
            </a:r>
            <a:r>
              <a:rPr lang="de-DE" dirty="0" smtClean="0"/>
              <a:t>nötig</a:t>
            </a:r>
          </a:p>
          <a:p>
            <a:r>
              <a:rPr lang="de-DE" dirty="0" smtClean="0"/>
              <a:t>Hochdimensional: Bei uns ca. 200 Dimensionen!</a:t>
            </a:r>
          </a:p>
          <a:p>
            <a:r>
              <a:rPr lang="de-DE" dirty="0" smtClean="0"/>
              <a:t>Aber Nutzung von Phänomenen </a:t>
            </a:r>
            <a:r>
              <a:rPr lang="de-DE" dirty="0"/>
              <a:t>des Hochdimensionalen </a:t>
            </a:r>
            <a:r>
              <a:rPr lang="de-DE" dirty="0" smtClean="0"/>
              <a:t>Raumes möglich (1)</a:t>
            </a:r>
          </a:p>
          <a:p>
            <a:pPr lvl="1"/>
            <a:r>
              <a:rPr lang="de-DE" dirty="0" smtClean="0"/>
              <a:t>Das ist ein Beispiel für mathematische Voraussetzungen</a:t>
            </a:r>
            <a:endParaRPr lang="de-DE" dirty="0"/>
          </a:p>
          <a:p>
            <a:endParaRPr lang="de-DE" dirty="0"/>
          </a:p>
          <a:p>
            <a:pPr>
              <a:buFont typeface="Symbol" panose="05050102010706020507" pitchFamily="18" charset="2"/>
              <a:buChar char="Þ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1BE2BD-D72B-4E58-A25D-9058A4C955C7}" type="datetime1">
              <a:rPr lang="de-DE" smtClean="0"/>
              <a:t>06.10.2017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DFEA48-2D48-4EF5-B029-0B8993B9B72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err="1"/>
              <a:t>Teil</a:t>
            </a:r>
            <a:r>
              <a:rPr lang="en-US" dirty="0"/>
              <a:t> I: </a:t>
            </a:r>
            <a:r>
              <a:rPr lang="en-US" dirty="0" err="1"/>
              <a:t>Einführung</a:t>
            </a:r>
            <a:r>
              <a:rPr lang="en-US" dirty="0"/>
              <a:t> in Data </a:t>
            </a:r>
            <a:r>
              <a:rPr lang="en-US" dirty="0" smtClean="0"/>
              <a:t>Scienc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9947" y="7246778"/>
            <a:ext cx="4086093" cy="45719"/>
          </a:xfrm>
        </p:spPr>
        <p:txBody>
          <a:bodyPr/>
          <a:lstStyle/>
          <a:p>
            <a:r>
              <a:rPr lang="de-DE" sz="1100" dirty="0" smtClean="0">
                <a:solidFill>
                  <a:schemeClr val="tx1"/>
                </a:solidFill>
              </a:rPr>
              <a:t>(1) </a:t>
            </a:r>
            <a:r>
              <a:rPr lang="de-DE" sz="1100" dirty="0" err="1" smtClean="0">
                <a:solidFill>
                  <a:schemeClr val="tx1"/>
                </a:solidFill>
              </a:rPr>
              <a:t>Verleysen</a:t>
            </a:r>
            <a:r>
              <a:rPr lang="de-DE" sz="1100" dirty="0">
                <a:solidFill>
                  <a:schemeClr val="tx1"/>
                </a:solidFill>
              </a:rPr>
              <a:t>, Werz et. Al. </a:t>
            </a:r>
            <a:r>
              <a:rPr lang="de-DE" sz="1100" i="1" dirty="0">
                <a:solidFill>
                  <a:schemeClr val="tx1"/>
                </a:solidFill>
              </a:rPr>
              <a:t>On </a:t>
            </a:r>
            <a:r>
              <a:rPr lang="de-DE" sz="1100" i="1" dirty="0" err="1">
                <a:solidFill>
                  <a:schemeClr val="tx1"/>
                </a:solidFill>
              </a:rPr>
              <a:t>the</a:t>
            </a:r>
            <a:r>
              <a:rPr lang="de-DE" sz="1100" i="1" dirty="0">
                <a:solidFill>
                  <a:schemeClr val="tx1"/>
                </a:solidFill>
              </a:rPr>
              <a:t> </a:t>
            </a:r>
            <a:r>
              <a:rPr lang="de-DE" sz="1100" i="1" dirty="0" err="1">
                <a:solidFill>
                  <a:schemeClr val="tx1"/>
                </a:solidFill>
              </a:rPr>
              <a:t>effects</a:t>
            </a:r>
            <a:r>
              <a:rPr lang="de-DE" sz="1100" i="1" dirty="0">
                <a:solidFill>
                  <a:schemeClr val="tx1"/>
                </a:solidFill>
              </a:rPr>
              <a:t> </a:t>
            </a:r>
            <a:r>
              <a:rPr lang="de-DE" sz="1100" i="1" dirty="0" err="1">
                <a:solidFill>
                  <a:schemeClr val="tx1"/>
                </a:solidFill>
              </a:rPr>
              <a:t>of</a:t>
            </a:r>
            <a:r>
              <a:rPr lang="de-DE" sz="1100" i="1" dirty="0">
                <a:solidFill>
                  <a:schemeClr val="tx1"/>
                </a:solidFill>
              </a:rPr>
              <a:t> </a:t>
            </a:r>
            <a:r>
              <a:rPr lang="de-DE" sz="1100" i="1" dirty="0" err="1">
                <a:solidFill>
                  <a:schemeClr val="tx1"/>
                </a:solidFill>
              </a:rPr>
              <a:t>dimensionaility</a:t>
            </a:r>
            <a:r>
              <a:rPr lang="de-DE" sz="1100" i="1" dirty="0">
                <a:solidFill>
                  <a:schemeClr val="tx1"/>
                </a:solidFill>
              </a:rPr>
              <a:t> on </a:t>
            </a:r>
            <a:r>
              <a:rPr lang="de-DE" sz="1100" i="1" dirty="0" err="1">
                <a:solidFill>
                  <a:schemeClr val="tx1"/>
                </a:solidFill>
              </a:rPr>
              <a:t>data</a:t>
            </a:r>
            <a:r>
              <a:rPr lang="de-DE" sz="1100" i="1" dirty="0">
                <a:solidFill>
                  <a:schemeClr val="tx1"/>
                </a:solidFill>
              </a:rPr>
              <a:t> </a:t>
            </a:r>
            <a:r>
              <a:rPr lang="de-DE" sz="1100" i="1" dirty="0" err="1">
                <a:solidFill>
                  <a:schemeClr val="tx1"/>
                </a:solidFill>
              </a:rPr>
              <a:t>analysis</a:t>
            </a:r>
            <a:r>
              <a:rPr lang="de-DE" sz="1100" dirty="0">
                <a:solidFill>
                  <a:schemeClr val="tx1"/>
                </a:solidFill>
              </a:rPr>
              <a:t>, </a:t>
            </a:r>
            <a:r>
              <a:rPr lang="de-DE" sz="1100" dirty="0" smtClean="0">
                <a:solidFill>
                  <a:schemeClr val="tx1"/>
                </a:solidFill>
              </a:rPr>
              <a:t>2003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534409" y="7112498"/>
            <a:ext cx="4248000" cy="180000"/>
          </a:xfrm>
        </p:spPr>
        <p:txBody>
          <a:bodyPr/>
          <a:lstStyle/>
          <a:p>
            <a:pPr algn="r"/>
            <a:r>
              <a:rPr lang="de-DE" smtClean="0"/>
              <a:t>Data Insights 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450851" y="4248735"/>
            <a:ext cx="8829358" cy="2421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eature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election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reprocessing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je nach Anwendungsbeispiel</a:t>
            </a:r>
          </a:p>
          <a:p>
            <a:pPr marL="285750" indent="-285750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xplorativ!</a:t>
            </a:r>
          </a:p>
          <a:p>
            <a:pPr marL="285750" indent="-285750">
              <a:spcBef>
                <a:spcPts val="384"/>
              </a:spcBef>
              <a:buFont typeface="Symbol" panose="05050102010706020507" pitchFamily="18" charset="2"/>
              <a:buChar char="Þ"/>
            </a:pP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84"/>
              </a:spcBef>
              <a:buFont typeface="Symbol" panose="05050102010706020507" pitchFamily="18" charset="2"/>
              <a:buChar char="Þ"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eature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Extraction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erfordert immer einen Data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cientisten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84"/>
              </a:spcBef>
              <a:buFont typeface="Symbol" panose="05050102010706020507" pitchFamily="18" charset="2"/>
              <a:buChar char="Þ"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luster-Analyse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rfordert immer einen Data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cientisten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84"/>
              </a:spcBef>
              <a:buFont typeface="Symbol" panose="05050102010706020507" pitchFamily="18" charset="2"/>
              <a:buChar char="Þ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84"/>
              </a:spcBef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iele mathematische Voraussetzungen zu beachten (je nach Methodenkombination)</a:t>
            </a:r>
          </a:p>
          <a:p>
            <a:pPr>
              <a:spcBef>
                <a:spcPts val="384"/>
              </a:spcBef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or-und Nachteile der Methoden sind abzuwägen</a:t>
            </a: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257623" y="3765197"/>
            <a:ext cx="9782602" cy="6769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95690" rtl="0" eaLnBrk="1" latinLnBrk="0" hangingPunct="1">
              <a:spcBef>
                <a:spcPct val="0"/>
              </a:spcBef>
              <a:buNone/>
              <a:defRPr sz="2200" b="1" i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de-DE" sz="2400" i="0" dirty="0"/>
              <a:t>Warum nicht automatisierte Komplettlösung?</a:t>
            </a:r>
          </a:p>
        </p:txBody>
      </p:sp>
    </p:spTree>
    <p:extLst>
      <p:ext uri="{BB962C8B-B14F-4D97-AF65-F5344CB8AC3E}">
        <p14:creationId xmlns:p14="http://schemas.microsoft.com/office/powerpoint/2010/main" val="2339314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2.xml><?xml version="1.0" encoding="utf-8"?>
<a:theme xmlns:a="http://schemas.openxmlformats.org/drawingml/2006/main" name="1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iessmann.pptx" id="{C03C4508-9A09-43CC-8577-FC3A7C1BE50C}" vid="{A6089ECD-C1E0-41AA-B937-16BB090F9DB7}"/>
    </a:ext>
  </a:extLst>
</a:theme>
</file>

<file path=ppt/theme/theme3.xml><?xml version="1.0" encoding="utf-8"?>
<a:theme xmlns:a="http://schemas.openxmlformats.org/drawingml/2006/main" name="2_Viessmann Divisionen">
  <a:themeElements>
    <a:clrScheme name="Viessmann">
      <a:dk1>
        <a:sysClr val="windowText" lastClr="000000"/>
      </a:dk1>
      <a:lt1>
        <a:srgbClr val="FFFFFF"/>
      </a:lt1>
      <a:dk2>
        <a:srgbClr val="555555"/>
      </a:dk2>
      <a:lt2>
        <a:srgbClr val="FFFFFF"/>
      </a:lt2>
      <a:accent1>
        <a:srgbClr val="D2D2D2"/>
      </a:accent1>
      <a:accent2>
        <a:srgbClr val="A8A8A8"/>
      </a:accent2>
      <a:accent3>
        <a:srgbClr val="787878"/>
      </a:accent3>
      <a:accent4>
        <a:srgbClr val="555555"/>
      </a:accent4>
      <a:accent5>
        <a:srgbClr val="F5231B"/>
      </a:accent5>
      <a:accent6>
        <a:srgbClr val="FF8B32"/>
      </a:accent6>
      <a:hlink>
        <a:srgbClr val="F5231B"/>
      </a:hlink>
      <a:folHlink>
        <a:srgbClr val="800080"/>
      </a:folHlink>
    </a:clrScheme>
    <a:fontScheme name="Viessmann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E636F91-FB27-47BE-9523-D6B56FD784CC}" vid="{06D78E08-B81E-4AF2-8D7E-A4D7B0BDAE19}"/>
    </a:ext>
  </a:ext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49</Words>
  <Application>Microsoft Office PowerPoint</Application>
  <PresentationFormat>Benutzerdefiniert</PresentationFormat>
  <Paragraphs>214</Paragraphs>
  <Slides>13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3" baseType="lpstr">
      <vt:lpstr>Arial</vt:lpstr>
      <vt:lpstr>Calibri</vt:lpstr>
      <vt:lpstr>Cambria Math</vt:lpstr>
      <vt:lpstr>Noto Sans Symbols</vt:lpstr>
      <vt:lpstr>Symbol</vt:lpstr>
      <vt:lpstr>Wingdings</vt:lpstr>
      <vt:lpstr>Viessmann Divisionen</vt:lpstr>
      <vt:lpstr>1_Viessmann Divisionen</vt:lpstr>
      <vt:lpstr>2_Viessmann Divisionen</vt:lpstr>
      <vt:lpstr>think-cell Folie</vt:lpstr>
      <vt:lpstr>PowerPoint-Präsentation</vt:lpstr>
      <vt:lpstr>Was ist Data Science?</vt:lpstr>
      <vt:lpstr>Wie funktioniert Data Science?</vt:lpstr>
      <vt:lpstr>Prozess der Knowledge Discovery</vt:lpstr>
      <vt:lpstr>Generierung eines strukturierten Datensatzes</vt:lpstr>
      <vt:lpstr>Betrachtung eines Features</vt:lpstr>
      <vt:lpstr>Feature Extraction: Betrachtung und Transformation einer Variable</vt:lpstr>
      <vt:lpstr>Folgerungen</vt:lpstr>
      <vt:lpstr>Wieso möglichst viele Daten?</vt:lpstr>
      <vt:lpstr>Mustererkennung über Cluster-Analyse</vt:lpstr>
      <vt:lpstr>Folgerungen (Knowledge Akquisition)</vt:lpstr>
      <vt:lpstr>Zusammenfassung Data Science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5T09:58:08Z</dcterms:created>
  <dcterms:modified xsi:type="dcterms:W3CDTF">2017-10-06T08:56:58Z</dcterms:modified>
</cp:coreProperties>
</file>